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5.xml" ContentType="application/vnd.ms-office.drawingml.diagramDrawing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Default Extension="jpg" ContentType="image/jpeg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270" r:id="rId5"/>
    <p:sldId id="257" r:id="rId6"/>
    <p:sldId id="258" r:id="rId7"/>
    <p:sldId id="330" r:id="rId8"/>
    <p:sldId id="324" r:id="rId9"/>
    <p:sldId id="259" r:id="rId10"/>
    <p:sldId id="260" r:id="rId11"/>
    <p:sldId id="261" r:id="rId12"/>
    <p:sldId id="262" r:id="rId13"/>
    <p:sldId id="323" r:id="rId14"/>
    <p:sldId id="277" r:id="rId15"/>
    <p:sldId id="321" r:id="rId16"/>
    <p:sldId id="322" r:id="rId17"/>
    <p:sldId id="325" r:id="rId18"/>
    <p:sldId id="279" r:id="rId19"/>
    <p:sldId id="280" r:id="rId20"/>
    <p:sldId id="294" r:id="rId21"/>
    <p:sldId id="329" r:id="rId22"/>
    <p:sldId id="331" r:id="rId23"/>
    <p:sldId id="332" r:id="rId24"/>
    <p:sldId id="333" r:id="rId25"/>
    <p:sldId id="334" r:id="rId26"/>
    <p:sldId id="306" r:id="rId27"/>
    <p:sldId id="335" r:id="rId28"/>
    <p:sldId id="307" r:id="rId29"/>
    <p:sldId id="309" r:id="rId30"/>
    <p:sldId id="305" r:id="rId31"/>
  </p:sldIdLst>
  <p:sldSz cx="9144000" cy="6858000" type="screen4x3"/>
  <p:notesSz cx="6858000" cy="9144000"/>
  <p:embeddedFontLst>
    <p:embeddedFont>
      <p:font typeface="Calibri" pitchFamily="34" charset="0"/>
      <p:regular r:id="rId34"/>
      <p:bold r:id="rId35"/>
      <p:italic r:id="rId36"/>
      <p:boldItalic r:id="rId37"/>
    </p:embeddedFont>
    <p:embeddedFont>
      <p:font typeface="Arial Black" pitchFamily="34" charset="0"/>
      <p:bold r:id="rId38"/>
    </p:embeddedFont>
    <p:embeddedFont>
      <p:font typeface="Candara" pitchFamily="34" charset="0"/>
      <p:regular r:id="rId39"/>
      <p:bold r:id="rId40"/>
      <p:italic r:id="rId41"/>
      <p:boldItalic r:id="rId42"/>
    </p:embeddedFont>
    <p:embeddedFont>
      <p:font typeface="Century Schoolbook" pitchFamily="18" charset="0"/>
      <p:regular r:id="rId43"/>
      <p:bold r:id="rId44"/>
      <p:italic r:id="rId45"/>
      <p:boldItalic r:id="rId46"/>
    </p:embeddedFont>
    <p:embeddedFont>
      <p:font typeface="Monotype Corsiva" pitchFamily="66" charset="0"/>
      <p:italic r:id="rId47"/>
    </p:embeddedFont>
    <p:embeddedFont>
      <p:font typeface="ＭＳ Ｐゴシック" pitchFamily="34" charset="-128"/>
      <p:regular r:id="rId4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562">
          <p15:clr>
            <a:srgbClr val="A4A3A4"/>
          </p15:clr>
        </p15:guide>
        <p15:guide id="2" pos="98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FFFF00"/>
    <a:srgbClr val="FFCC6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621" autoAdjust="0"/>
    <p:restoredTop sz="94610" autoAdjust="0"/>
  </p:normalViewPr>
  <p:slideViewPr>
    <p:cSldViewPr>
      <p:cViewPr>
        <p:scale>
          <a:sx n="70" d="100"/>
          <a:sy n="70" d="100"/>
        </p:scale>
        <p:origin x="-1386" y="-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118" d="100"/>
          <a:sy n="118" d="100"/>
        </p:scale>
        <p:origin x="-1506" y="-72"/>
      </p:cViewPr>
      <p:guideLst>
        <p:guide orient="horz" pos="2562"/>
        <p:guide pos="98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3.fntdata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11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hyperlink" Target="../PROJECT/Testcases/Executive%20Login%20TestCases.xls" TargetMode="External"/><Relationship Id="rId2" Type="http://schemas.openxmlformats.org/officeDocument/2006/relationships/hyperlink" Target="../PROJECT/Testcases/View%20Flights&amp;BookFlight%20Testcases.xls" TargetMode="External"/><Relationship Id="rId1" Type="http://schemas.openxmlformats.org/officeDocument/2006/relationships/hyperlink" Target="../PROJECT/Testcases/Admin%20Login%20Testcases.xls" TargetMode="External"/><Relationship Id="rId5" Type="http://schemas.openxmlformats.org/officeDocument/2006/relationships/hyperlink" Target="../PROJECT/Testcases/ContactUs-testcases.xls" TargetMode="External"/><Relationship Id="rId4" Type="http://schemas.openxmlformats.org/officeDocument/2006/relationships/hyperlink" Target="../PROJECT/Testcases/Flights%20based%20on%20period&amp;Flights%20base%20on%20Place%20Testcases.xls" TargetMode="Externa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image" Target="../media/image11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hyperlink" Target="../PROJECT/Testcases/Flights%20based%20on%20period&amp;Flights%20base%20on%20Place%20Testcases.xls" TargetMode="External"/><Relationship Id="rId2" Type="http://schemas.openxmlformats.org/officeDocument/2006/relationships/hyperlink" Target="../PROJECT/Testcases/Executive%20Login%20TestCases.xls" TargetMode="External"/><Relationship Id="rId1" Type="http://schemas.openxmlformats.org/officeDocument/2006/relationships/hyperlink" Target="../PROJECT/Testcases/Admin%20Login%20Testcases.xls" TargetMode="External"/><Relationship Id="rId5" Type="http://schemas.openxmlformats.org/officeDocument/2006/relationships/hyperlink" Target="../PROJECT/Testcases/ContactUs-testcases.xls" TargetMode="External"/><Relationship Id="rId4" Type="http://schemas.openxmlformats.org/officeDocument/2006/relationships/hyperlink" Target="../PROJECT/Testcases/View%20Flights&amp;BookFlight%20Testcases.xls" TargetMode="External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1.jpeg"/><Relationship Id="rId1" Type="http://schemas.openxmlformats.org/officeDocument/2006/relationships/image" Target="../media/image1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010276-4FB5-4008-94D5-6A0035A3B9B1}" type="doc">
      <dgm:prSet loTypeId="urn:diagrams.loki3.com/BracketList" loCatId="list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F99C74BA-F498-47FF-96B1-94E907C78F09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Admin</a:t>
          </a:r>
          <a:endParaRPr lang="en-US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CDED4C-B670-4F60-95C4-CA12A563AF5D}" type="parTrans" cxnId="{5D73559B-5116-48AA-BFE5-C77EE912C8C3}">
      <dgm:prSet/>
      <dgm:spPr/>
      <dgm:t>
        <a:bodyPr/>
        <a:lstStyle/>
        <a:p>
          <a:endParaRPr lang="en-US"/>
        </a:p>
      </dgm:t>
    </dgm:pt>
    <dgm:pt modelId="{B04CA9DE-33BF-44AA-8389-72F737AF1352}" type="sibTrans" cxnId="{5D73559B-5116-48AA-BFE5-C77EE912C8C3}">
      <dgm:prSet/>
      <dgm:spPr/>
      <dgm:t>
        <a:bodyPr/>
        <a:lstStyle/>
        <a:p>
          <a:endParaRPr lang="en-US"/>
        </a:p>
      </dgm:t>
    </dgm:pt>
    <dgm:pt modelId="{B0C73FEF-4B5E-40B4-99BE-5A0DF10EC413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1" action="ppaction://hlinkfile"/>
            </a:rPr>
            <a:t>Login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6CDB24D-E97F-4B8F-9BBF-A2BA8DF8BC60}" type="parTrans" cxnId="{B3806495-E3B5-4BD6-942C-868A745A98A0}">
      <dgm:prSet/>
      <dgm:spPr/>
      <dgm:t>
        <a:bodyPr/>
        <a:lstStyle/>
        <a:p>
          <a:endParaRPr lang="en-US"/>
        </a:p>
      </dgm:t>
    </dgm:pt>
    <dgm:pt modelId="{1210BA91-AB49-47CB-B18F-9C16FF9FD7B4}" type="sibTrans" cxnId="{B3806495-E3B5-4BD6-942C-868A745A98A0}">
      <dgm:prSet/>
      <dgm:spPr/>
      <dgm:t>
        <a:bodyPr/>
        <a:lstStyle/>
        <a:p>
          <a:endParaRPr lang="en-US"/>
        </a:p>
      </dgm:t>
    </dgm:pt>
    <dgm:pt modelId="{ACF44B80-A914-4FE1-8DB7-2770A3418417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Executive</a:t>
          </a:r>
        </a:p>
      </dgm:t>
    </dgm:pt>
    <dgm:pt modelId="{EE20BB9C-78EC-4A17-B7FE-3B7A75ED62C6}" type="parTrans" cxnId="{0F885EA7-6468-447C-883E-2B60C66A375E}">
      <dgm:prSet/>
      <dgm:spPr/>
      <dgm:t>
        <a:bodyPr/>
        <a:lstStyle/>
        <a:p>
          <a:endParaRPr lang="en-US"/>
        </a:p>
      </dgm:t>
    </dgm:pt>
    <dgm:pt modelId="{3E3DB54F-9DCB-4722-BD1D-D4ED61F67EB7}" type="sibTrans" cxnId="{0F885EA7-6468-447C-883E-2B60C66A375E}">
      <dgm:prSet/>
      <dgm:spPr/>
      <dgm:t>
        <a:bodyPr/>
        <a:lstStyle/>
        <a:p>
          <a:endParaRPr lang="en-US"/>
        </a:p>
      </dgm:t>
    </dgm:pt>
    <dgm:pt modelId="{8F73FB67-D9CA-47F8-A16C-DE5AA36A70DD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 action="ppaction://hlinkfile"/>
            </a:rPr>
            <a:t>View Flight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883464A-8CFB-41FD-A4F3-B8EAAAFC1B29}" type="parTrans" cxnId="{F3AEE3FF-819C-46E7-B005-17CEA3284386}">
      <dgm:prSet/>
      <dgm:spPr/>
      <dgm:t>
        <a:bodyPr/>
        <a:lstStyle/>
        <a:p>
          <a:endParaRPr lang="en-US"/>
        </a:p>
      </dgm:t>
    </dgm:pt>
    <dgm:pt modelId="{01B6DABB-F941-465C-B4AF-E3B853441D8B}" type="sibTrans" cxnId="{F3AEE3FF-819C-46E7-B005-17CEA3284386}">
      <dgm:prSet/>
      <dgm:spPr/>
      <dgm:t>
        <a:bodyPr/>
        <a:lstStyle/>
        <a:p>
          <a:endParaRPr lang="en-US"/>
        </a:p>
      </dgm:t>
    </dgm:pt>
    <dgm:pt modelId="{5E8A6308-797B-4540-B78F-C79279D53601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User</a:t>
          </a:r>
        </a:p>
      </dgm:t>
    </dgm:pt>
    <dgm:pt modelId="{1723C90B-9EB4-4AD1-BB54-D2760F8BD62C}" type="parTrans" cxnId="{4E87487C-B775-474C-B842-7AB10013FEFC}">
      <dgm:prSet/>
      <dgm:spPr/>
      <dgm:t>
        <a:bodyPr/>
        <a:lstStyle/>
        <a:p>
          <a:endParaRPr lang="en-US"/>
        </a:p>
      </dgm:t>
    </dgm:pt>
    <dgm:pt modelId="{B953F905-4483-4B9E-BB99-CB559C2BC02B}" type="sibTrans" cxnId="{4E87487C-B775-474C-B842-7AB10013FEFC}">
      <dgm:prSet/>
      <dgm:spPr/>
      <dgm:t>
        <a:bodyPr/>
        <a:lstStyle/>
        <a:p>
          <a:endParaRPr lang="en-US"/>
        </a:p>
      </dgm:t>
    </dgm:pt>
    <dgm:pt modelId="{4B8F4853-D066-4726-B26C-9DD970206CE5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 action="ppaction://hlinkfile"/>
            </a:rPr>
            <a:t>Login</a:t>
          </a:r>
          <a:endParaRPr lang="en-US" sz="2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EB7273D-012B-4BB1-827F-68C053FBF46A}" type="parTrans" cxnId="{0736AA68-0EAC-4EB8-8E06-8539FFAF938E}">
      <dgm:prSet/>
      <dgm:spPr/>
      <dgm:t>
        <a:bodyPr/>
        <a:lstStyle/>
        <a:p>
          <a:endParaRPr lang="en-US"/>
        </a:p>
      </dgm:t>
    </dgm:pt>
    <dgm:pt modelId="{5293FA5C-2FA4-408A-A8E0-785D21FEE2B2}" type="sibTrans" cxnId="{0736AA68-0EAC-4EB8-8E06-8539FFAF938E}">
      <dgm:prSet/>
      <dgm:spPr/>
      <dgm:t>
        <a:bodyPr/>
        <a:lstStyle/>
        <a:p>
          <a:endParaRPr lang="en-US"/>
        </a:p>
      </dgm:t>
    </dgm:pt>
    <dgm:pt modelId="{E9A7511D-D943-4466-BD37-6BC8E460C095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 action="ppaction://hlinkfile"/>
            </a:rPr>
            <a:t>Book Flights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992BA41-470F-437C-B302-C18E76CE428D}" type="parTrans" cxnId="{A2DE5AEA-F714-4BAA-9963-326C1AECDBB2}">
      <dgm:prSet/>
      <dgm:spPr/>
      <dgm:t>
        <a:bodyPr/>
        <a:lstStyle/>
        <a:p>
          <a:endParaRPr lang="en-US"/>
        </a:p>
      </dgm:t>
    </dgm:pt>
    <dgm:pt modelId="{1F37840E-4349-4C1E-ADC4-5993B2F0BD5E}" type="sibTrans" cxnId="{A2DE5AEA-F714-4BAA-9963-326C1AECDBB2}">
      <dgm:prSet/>
      <dgm:spPr/>
      <dgm:t>
        <a:bodyPr/>
        <a:lstStyle/>
        <a:p>
          <a:endParaRPr lang="en-US"/>
        </a:p>
      </dgm:t>
    </dgm:pt>
    <dgm:pt modelId="{276AFFF1-2F5F-489B-99FC-E8BA5BF99630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View Flights Acc. To Period</a:t>
          </a:r>
          <a:endParaRPr lang="en-US" sz="2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615C7DC-4926-4864-B7F3-55A9527A3C46}" type="parTrans" cxnId="{24CA1B0A-3453-4E0F-9B0A-3A3AB3C6A03F}">
      <dgm:prSet/>
      <dgm:spPr/>
      <dgm:t>
        <a:bodyPr/>
        <a:lstStyle/>
        <a:p>
          <a:endParaRPr lang="en-US"/>
        </a:p>
      </dgm:t>
    </dgm:pt>
    <dgm:pt modelId="{006638CD-CDCA-4E64-9BFD-398F0CBE6BFF}" type="sibTrans" cxnId="{24CA1B0A-3453-4E0F-9B0A-3A3AB3C6A03F}">
      <dgm:prSet/>
      <dgm:spPr/>
      <dgm:t>
        <a:bodyPr/>
        <a:lstStyle/>
        <a:p>
          <a:endParaRPr lang="en-US"/>
        </a:p>
      </dgm:t>
    </dgm:pt>
    <dgm:pt modelId="{A8A39CE0-50E1-4E15-ADD8-85692E8ED699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View Flights Acc. To Place</a:t>
          </a:r>
          <a:endParaRPr lang="en-US" sz="2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4916939-67EA-494E-A986-AAFEDA501A1E}" type="parTrans" cxnId="{859E4EE7-B8B9-4026-92D6-7AB3F104B183}">
      <dgm:prSet/>
      <dgm:spPr/>
      <dgm:t>
        <a:bodyPr/>
        <a:lstStyle/>
        <a:p>
          <a:endParaRPr lang="en-US"/>
        </a:p>
      </dgm:t>
    </dgm:pt>
    <dgm:pt modelId="{D103B522-98FE-4073-9A2E-172A5DACE535}" type="sibTrans" cxnId="{859E4EE7-B8B9-4026-92D6-7AB3F104B183}">
      <dgm:prSet/>
      <dgm:spPr/>
      <dgm:t>
        <a:bodyPr/>
        <a:lstStyle/>
        <a:p>
          <a:endParaRPr lang="en-US"/>
        </a:p>
      </dgm:t>
    </dgm:pt>
    <dgm:pt modelId="{8861CE96-1239-4BAB-9EDC-88E9A78F4526}">
      <dgm:prSet phldrT="[Text]" custT="1"/>
      <dgm:spPr/>
      <dgm:t>
        <a:bodyPr/>
        <a:lstStyle/>
        <a:p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5" action="ppaction://hlinkfile"/>
            </a:rPr>
            <a:t>Contact</a:t>
          </a:r>
          <a:endParaRPr lang="en-US" sz="2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51FB9C-BE76-4E4F-9B9B-6B21D7F1FB7C}" type="parTrans" cxnId="{FDA4C554-4248-4A8B-A7F4-6A055245E542}">
      <dgm:prSet/>
      <dgm:spPr/>
      <dgm:t>
        <a:bodyPr/>
        <a:lstStyle/>
        <a:p>
          <a:endParaRPr lang="en-US"/>
        </a:p>
      </dgm:t>
    </dgm:pt>
    <dgm:pt modelId="{1A514EFE-363E-4D29-9E47-240AED02B0EA}" type="sibTrans" cxnId="{FDA4C554-4248-4A8B-A7F4-6A055245E542}">
      <dgm:prSet/>
      <dgm:spPr/>
      <dgm:t>
        <a:bodyPr/>
        <a:lstStyle/>
        <a:p>
          <a:endParaRPr lang="en-US"/>
        </a:p>
      </dgm:t>
    </dgm:pt>
    <dgm:pt modelId="{3C057C90-EFC8-4B9D-8B25-69FF5B13A76E}" type="pres">
      <dgm:prSet presAssocID="{19010276-4FB5-4008-94D5-6A0035A3B9B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32AEF7E-DDC7-4ED2-AE6C-94E6261EA209}" type="pres">
      <dgm:prSet presAssocID="{F99C74BA-F498-47FF-96B1-94E907C78F09}" presName="linNode" presStyleCnt="0"/>
      <dgm:spPr/>
      <dgm:t>
        <a:bodyPr/>
        <a:lstStyle/>
        <a:p>
          <a:endParaRPr lang="en-IN"/>
        </a:p>
      </dgm:t>
    </dgm:pt>
    <dgm:pt modelId="{32CC9537-BBDC-4A80-98AC-317BE75D2A81}" type="pres">
      <dgm:prSet presAssocID="{F99C74BA-F498-47FF-96B1-94E907C78F09}" presName="parTx" presStyleLbl="revTx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B66772-1931-47FC-BC04-4C54ECB81AC2}" type="pres">
      <dgm:prSet presAssocID="{F99C74BA-F498-47FF-96B1-94E907C78F09}" presName="bracket" presStyleLbl="parChTrans1D1" presStyleIdx="0" presStyleCnt="3" custScaleY="55803"/>
      <dgm:spPr/>
      <dgm:t>
        <a:bodyPr/>
        <a:lstStyle/>
        <a:p>
          <a:endParaRPr lang="en-IN"/>
        </a:p>
      </dgm:t>
    </dgm:pt>
    <dgm:pt modelId="{E9DCB06B-3DE1-48AC-B14E-22AA29E0904E}" type="pres">
      <dgm:prSet presAssocID="{F99C74BA-F498-47FF-96B1-94E907C78F09}" presName="spH" presStyleCnt="0"/>
      <dgm:spPr/>
      <dgm:t>
        <a:bodyPr/>
        <a:lstStyle/>
        <a:p>
          <a:endParaRPr lang="en-IN"/>
        </a:p>
      </dgm:t>
    </dgm:pt>
    <dgm:pt modelId="{D06CA33C-C8EA-4420-8555-DD7C1E9E112F}" type="pres">
      <dgm:prSet presAssocID="{F99C74BA-F498-47FF-96B1-94E907C78F09}" presName="desTx" presStyleLbl="node1" presStyleIdx="0" presStyleCnt="3" custScaleY="449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7201CA-A9B4-4D7C-81E5-0AEDD8975ACC}" type="pres">
      <dgm:prSet presAssocID="{B04CA9DE-33BF-44AA-8389-72F737AF1352}" presName="spV" presStyleCnt="0"/>
      <dgm:spPr/>
      <dgm:t>
        <a:bodyPr/>
        <a:lstStyle/>
        <a:p>
          <a:endParaRPr lang="en-IN"/>
        </a:p>
      </dgm:t>
    </dgm:pt>
    <dgm:pt modelId="{1DFB302C-74C3-45C7-84D7-B9C17E08288D}" type="pres">
      <dgm:prSet presAssocID="{ACF44B80-A914-4FE1-8DB7-2770A3418417}" presName="linNode" presStyleCnt="0"/>
      <dgm:spPr/>
      <dgm:t>
        <a:bodyPr/>
        <a:lstStyle/>
        <a:p>
          <a:endParaRPr lang="en-IN"/>
        </a:p>
      </dgm:t>
    </dgm:pt>
    <dgm:pt modelId="{79FC20CB-ACD8-4964-AF4B-C23194381537}" type="pres">
      <dgm:prSet presAssocID="{ACF44B80-A914-4FE1-8DB7-2770A3418417}" presName="parTx" presStyleLbl="revTx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943E8-45AF-48E4-81CA-FA2AA67783DF}" type="pres">
      <dgm:prSet presAssocID="{ACF44B80-A914-4FE1-8DB7-2770A3418417}" presName="bracket" presStyleLbl="parChTrans1D1" presStyleIdx="1" presStyleCnt="3"/>
      <dgm:spPr/>
      <dgm:t>
        <a:bodyPr/>
        <a:lstStyle/>
        <a:p>
          <a:endParaRPr lang="en-IN"/>
        </a:p>
      </dgm:t>
    </dgm:pt>
    <dgm:pt modelId="{FBB44B2C-CE4D-41E7-B7D8-59F9AD1546B1}" type="pres">
      <dgm:prSet presAssocID="{ACF44B80-A914-4FE1-8DB7-2770A3418417}" presName="spH" presStyleCnt="0"/>
      <dgm:spPr/>
      <dgm:t>
        <a:bodyPr/>
        <a:lstStyle/>
        <a:p>
          <a:endParaRPr lang="en-IN"/>
        </a:p>
      </dgm:t>
    </dgm:pt>
    <dgm:pt modelId="{4D435160-9DBB-4A42-8005-00E3F38AB427}" type="pres">
      <dgm:prSet presAssocID="{ACF44B80-A914-4FE1-8DB7-2770A3418417}" presName="des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478B66-AE51-4DC6-9957-302DF96F5044}" type="pres">
      <dgm:prSet presAssocID="{3E3DB54F-9DCB-4722-BD1D-D4ED61F67EB7}" presName="spV" presStyleCnt="0"/>
      <dgm:spPr/>
      <dgm:t>
        <a:bodyPr/>
        <a:lstStyle/>
        <a:p>
          <a:endParaRPr lang="en-IN"/>
        </a:p>
      </dgm:t>
    </dgm:pt>
    <dgm:pt modelId="{5135A6B9-2774-4E61-AC32-E8838A72CB57}" type="pres">
      <dgm:prSet presAssocID="{5E8A6308-797B-4540-B78F-C79279D53601}" presName="linNode" presStyleCnt="0"/>
      <dgm:spPr/>
      <dgm:t>
        <a:bodyPr/>
        <a:lstStyle/>
        <a:p>
          <a:endParaRPr lang="en-IN"/>
        </a:p>
      </dgm:t>
    </dgm:pt>
    <dgm:pt modelId="{B5D16947-6D9A-46BA-9A03-4AE0716FB504}" type="pres">
      <dgm:prSet presAssocID="{5E8A6308-797B-4540-B78F-C79279D53601}" presName="parTx" presStyleLbl="revTx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3226F5-0707-4836-8677-92C1198C943A}" type="pres">
      <dgm:prSet presAssocID="{5E8A6308-797B-4540-B78F-C79279D53601}" presName="bracket" presStyleLbl="parChTrans1D1" presStyleIdx="2" presStyleCnt="3"/>
      <dgm:spPr/>
      <dgm:t>
        <a:bodyPr/>
        <a:lstStyle/>
        <a:p>
          <a:endParaRPr lang="en-IN"/>
        </a:p>
      </dgm:t>
    </dgm:pt>
    <dgm:pt modelId="{87AC0CC7-3E28-4B4B-A0E4-4ECB2D4B6FF8}" type="pres">
      <dgm:prSet presAssocID="{5E8A6308-797B-4540-B78F-C79279D53601}" presName="spH" presStyleCnt="0"/>
      <dgm:spPr/>
      <dgm:t>
        <a:bodyPr/>
        <a:lstStyle/>
        <a:p>
          <a:endParaRPr lang="en-IN"/>
        </a:p>
      </dgm:t>
    </dgm:pt>
    <dgm:pt modelId="{E8A27EE7-5ACB-4B9D-A1B7-E01006D53F16}" type="pres">
      <dgm:prSet presAssocID="{5E8A6308-797B-4540-B78F-C79279D53601}" presName="des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AEB813E-E40A-4279-9645-9377900B2F9F}" type="presOf" srcId="{A8A39CE0-50E1-4E15-ADD8-85692E8ED699}" destId="{4D435160-9DBB-4A42-8005-00E3F38AB427}" srcOrd="0" destOrd="2" presId="urn:diagrams.loki3.com/BracketList"/>
    <dgm:cxn modelId="{B3806495-E3B5-4BD6-942C-868A745A98A0}" srcId="{F99C74BA-F498-47FF-96B1-94E907C78F09}" destId="{B0C73FEF-4B5E-40B4-99BE-5A0DF10EC413}" srcOrd="0" destOrd="0" parTransId="{F6CDB24D-E97F-4B8F-9BBF-A2BA8DF8BC60}" sibTransId="{1210BA91-AB49-47CB-B18F-9C16FF9FD7B4}"/>
    <dgm:cxn modelId="{6F3D0E40-707F-4A1C-BC0F-C9A24B220D55}" type="presOf" srcId="{19010276-4FB5-4008-94D5-6A0035A3B9B1}" destId="{3C057C90-EFC8-4B9D-8B25-69FF5B13A76E}" srcOrd="0" destOrd="0" presId="urn:diagrams.loki3.com/BracketList"/>
    <dgm:cxn modelId="{8972D947-C003-4F68-A7E5-343FFE8623B1}" type="presOf" srcId="{8861CE96-1239-4BAB-9EDC-88E9A78F4526}" destId="{E8A27EE7-5ACB-4B9D-A1B7-E01006D53F16}" srcOrd="0" destOrd="2" presId="urn:diagrams.loki3.com/BracketList"/>
    <dgm:cxn modelId="{5D73559B-5116-48AA-BFE5-C77EE912C8C3}" srcId="{19010276-4FB5-4008-94D5-6A0035A3B9B1}" destId="{F99C74BA-F498-47FF-96B1-94E907C78F09}" srcOrd="0" destOrd="0" parTransId="{E0CDED4C-B670-4F60-95C4-CA12A563AF5D}" sibTransId="{B04CA9DE-33BF-44AA-8389-72F737AF1352}"/>
    <dgm:cxn modelId="{4E87487C-B775-474C-B842-7AB10013FEFC}" srcId="{19010276-4FB5-4008-94D5-6A0035A3B9B1}" destId="{5E8A6308-797B-4540-B78F-C79279D53601}" srcOrd="2" destOrd="0" parTransId="{1723C90B-9EB4-4AD1-BB54-D2760F8BD62C}" sibTransId="{B953F905-4483-4B9E-BB99-CB559C2BC02B}"/>
    <dgm:cxn modelId="{73AC5F71-CB88-421A-8E04-F6B6C5CCF771}" type="presOf" srcId="{ACF44B80-A914-4FE1-8DB7-2770A3418417}" destId="{79FC20CB-ACD8-4964-AF4B-C23194381537}" srcOrd="0" destOrd="0" presId="urn:diagrams.loki3.com/BracketList"/>
    <dgm:cxn modelId="{A2DE5AEA-F714-4BAA-9963-326C1AECDBB2}" srcId="{5E8A6308-797B-4540-B78F-C79279D53601}" destId="{E9A7511D-D943-4466-BD37-6BC8E460C095}" srcOrd="1" destOrd="0" parTransId="{6992BA41-470F-437C-B302-C18E76CE428D}" sibTransId="{1F37840E-4349-4C1E-ADC4-5993B2F0BD5E}"/>
    <dgm:cxn modelId="{0736AA68-0EAC-4EB8-8E06-8539FFAF938E}" srcId="{ACF44B80-A914-4FE1-8DB7-2770A3418417}" destId="{4B8F4853-D066-4726-B26C-9DD970206CE5}" srcOrd="0" destOrd="0" parTransId="{FEB7273D-012B-4BB1-827F-68C053FBF46A}" sibTransId="{5293FA5C-2FA4-408A-A8E0-785D21FEE2B2}"/>
    <dgm:cxn modelId="{8282F2C0-E1AE-4132-B599-36D241835083}" type="presOf" srcId="{F99C74BA-F498-47FF-96B1-94E907C78F09}" destId="{32CC9537-BBDC-4A80-98AC-317BE75D2A81}" srcOrd="0" destOrd="0" presId="urn:diagrams.loki3.com/BracketList"/>
    <dgm:cxn modelId="{24CA1B0A-3453-4E0F-9B0A-3A3AB3C6A03F}" srcId="{ACF44B80-A914-4FE1-8DB7-2770A3418417}" destId="{276AFFF1-2F5F-489B-99FC-E8BA5BF99630}" srcOrd="1" destOrd="0" parTransId="{4615C7DC-4926-4864-B7F3-55A9527A3C46}" sibTransId="{006638CD-CDCA-4E64-9BFD-398F0CBE6BFF}"/>
    <dgm:cxn modelId="{0F885EA7-6468-447C-883E-2B60C66A375E}" srcId="{19010276-4FB5-4008-94D5-6A0035A3B9B1}" destId="{ACF44B80-A914-4FE1-8DB7-2770A3418417}" srcOrd="1" destOrd="0" parTransId="{EE20BB9C-78EC-4A17-B7FE-3B7A75ED62C6}" sibTransId="{3E3DB54F-9DCB-4722-BD1D-D4ED61F67EB7}"/>
    <dgm:cxn modelId="{B2B6A5F7-4FCD-4D0F-B40E-218536BC7B74}" type="presOf" srcId="{8F73FB67-D9CA-47F8-A16C-DE5AA36A70DD}" destId="{E8A27EE7-5ACB-4B9D-A1B7-E01006D53F16}" srcOrd="0" destOrd="0" presId="urn:diagrams.loki3.com/BracketList"/>
    <dgm:cxn modelId="{0A076673-39C4-4FE2-84F9-113027716C85}" type="presOf" srcId="{E9A7511D-D943-4466-BD37-6BC8E460C095}" destId="{E8A27EE7-5ACB-4B9D-A1B7-E01006D53F16}" srcOrd="0" destOrd="1" presId="urn:diagrams.loki3.com/BracketList"/>
    <dgm:cxn modelId="{69106769-DC38-4B41-9C1D-72F33FDAB011}" type="presOf" srcId="{276AFFF1-2F5F-489B-99FC-E8BA5BF99630}" destId="{4D435160-9DBB-4A42-8005-00E3F38AB427}" srcOrd="0" destOrd="1" presId="urn:diagrams.loki3.com/BracketList"/>
    <dgm:cxn modelId="{F3AEE3FF-819C-46E7-B005-17CEA3284386}" srcId="{5E8A6308-797B-4540-B78F-C79279D53601}" destId="{8F73FB67-D9CA-47F8-A16C-DE5AA36A70DD}" srcOrd="0" destOrd="0" parTransId="{D883464A-8CFB-41FD-A4F3-B8EAAAFC1B29}" sibTransId="{01B6DABB-F941-465C-B4AF-E3B853441D8B}"/>
    <dgm:cxn modelId="{FDA4C554-4248-4A8B-A7F4-6A055245E542}" srcId="{5E8A6308-797B-4540-B78F-C79279D53601}" destId="{8861CE96-1239-4BAB-9EDC-88E9A78F4526}" srcOrd="2" destOrd="0" parTransId="{8351FB9C-BE76-4E4F-9B9B-6B21D7F1FB7C}" sibTransId="{1A514EFE-363E-4D29-9E47-240AED02B0EA}"/>
    <dgm:cxn modelId="{0AA71C9D-D445-46C2-A1AB-0610E0C2EFE3}" type="presOf" srcId="{4B8F4853-D066-4726-B26C-9DD970206CE5}" destId="{4D435160-9DBB-4A42-8005-00E3F38AB427}" srcOrd="0" destOrd="0" presId="urn:diagrams.loki3.com/BracketList"/>
    <dgm:cxn modelId="{A79B521B-9837-43EE-A711-938D0CFC75B4}" type="presOf" srcId="{5E8A6308-797B-4540-B78F-C79279D53601}" destId="{B5D16947-6D9A-46BA-9A03-4AE0716FB504}" srcOrd="0" destOrd="0" presId="urn:diagrams.loki3.com/BracketList"/>
    <dgm:cxn modelId="{526D2BBB-7D99-4DA6-8B5F-7F1713186C8B}" type="presOf" srcId="{B0C73FEF-4B5E-40B4-99BE-5A0DF10EC413}" destId="{D06CA33C-C8EA-4420-8555-DD7C1E9E112F}" srcOrd="0" destOrd="0" presId="urn:diagrams.loki3.com/BracketList"/>
    <dgm:cxn modelId="{859E4EE7-B8B9-4026-92D6-7AB3F104B183}" srcId="{ACF44B80-A914-4FE1-8DB7-2770A3418417}" destId="{A8A39CE0-50E1-4E15-ADD8-85692E8ED699}" srcOrd="2" destOrd="0" parTransId="{54916939-67EA-494E-A986-AAFEDA501A1E}" sibTransId="{D103B522-98FE-4073-9A2E-172A5DACE535}"/>
    <dgm:cxn modelId="{B71CACCE-4473-4448-AC3B-84793EB288E1}" type="presParOf" srcId="{3C057C90-EFC8-4B9D-8B25-69FF5B13A76E}" destId="{D32AEF7E-DDC7-4ED2-AE6C-94E6261EA209}" srcOrd="0" destOrd="0" presId="urn:diagrams.loki3.com/BracketList"/>
    <dgm:cxn modelId="{BD34B25A-1084-4B92-A9E2-5570B7803C74}" type="presParOf" srcId="{D32AEF7E-DDC7-4ED2-AE6C-94E6261EA209}" destId="{32CC9537-BBDC-4A80-98AC-317BE75D2A81}" srcOrd="0" destOrd="0" presId="urn:diagrams.loki3.com/BracketList"/>
    <dgm:cxn modelId="{A2677186-A4A7-43D4-A0FB-8B50A7B1DBDD}" type="presParOf" srcId="{D32AEF7E-DDC7-4ED2-AE6C-94E6261EA209}" destId="{91B66772-1931-47FC-BC04-4C54ECB81AC2}" srcOrd="1" destOrd="0" presId="urn:diagrams.loki3.com/BracketList"/>
    <dgm:cxn modelId="{407CAEBE-4788-428E-AA67-D060AAC597BB}" type="presParOf" srcId="{D32AEF7E-DDC7-4ED2-AE6C-94E6261EA209}" destId="{E9DCB06B-3DE1-48AC-B14E-22AA29E0904E}" srcOrd="2" destOrd="0" presId="urn:diagrams.loki3.com/BracketList"/>
    <dgm:cxn modelId="{1B00A2B2-8986-4077-B1C5-92D12E4D8ECA}" type="presParOf" srcId="{D32AEF7E-DDC7-4ED2-AE6C-94E6261EA209}" destId="{D06CA33C-C8EA-4420-8555-DD7C1E9E112F}" srcOrd="3" destOrd="0" presId="urn:diagrams.loki3.com/BracketList"/>
    <dgm:cxn modelId="{5622D403-3BAA-4119-8E29-BE0D334A7850}" type="presParOf" srcId="{3C057C90-EFC8-4B9D-8B25-69FF5B13A76E}" destId="{707201CA-A9B4-4D7C-81E5-0AEDD8975ACC}" srcOrd="1" destOrd="0" presId="urn:diagrams.loki3.com/BracketList"/>
    <dgm:cxn modelId="{D96732AF-AF2F-4E1D-B541-53F4E096F483}" type="presParOf" srcId="{3C057C90-EFC8-4B9D-8B25-69FF5B13A76E}" destId="{1DFB302C-74C3-45C7-84D7-B9C17E08288D}" srcOrd="2" destOrd="0" presId="urn:diagrams.loki3.com/BracketList"/>
    <dgm:cxn modelId="{27610FF9-FDA7-45AF-9144-0EDA8DAF91A4}" type="presParOf" srcId="{1DFB302C-74C3-45C7-84D7-B9C17E08288D}" destId="{79FC20CB-ACD8-4964-AF4B-C23194381537}" srcOrd="0" destOrd="0" presId="urn:diagrams.loki3.com/BracketList"/>
    <dgm:cxn modelId="{B080C796-F0B7-47E7-86B2-2D6CEBDA1345}" type="presParOf" srcId="{1DFB302C-74C3-45C7-84D7-B9C17E08288D}" destId="{EFC943E8-45AF-48E4-81CA-FA2AA67783DF}" srcOrd="1" destOrd="0" presId="urn:diagrams.loki3.com/BracketList"/>
    <dgm:cxn modelId="{2A9A2ACA-13F1-4E27-900F-6F7E3CCBFDEE}" type="presParOf" srcId="{1DFB302C-74C3-45C7-84D7-B9C17E08288D}" destId="{FBB44B2C-CE4D-41E7-B7D8-59F9AD1546B1}" srcOrd="2" destOrd="0" presId="urn:diagrams.loki3.com/BracketList"/>
    <dgm:cxn modelId="{F7788447-FB7F-47AE-8626-6463ADD1B71D}" type="presParOf" srcId="{1DFB302C-74C3-45C7-84D7-B9C17E08288D}" destId="{4D435160-9DBB-4A42-8005-00E3F38AB427}" srcOrd="3" destOrd="0" presId="urn:diagrams.loki3.com/BracketList"/>
    <dgm:cxn modelId="{93150F1A-6878-4A8F-AEC4-19C969CB3D1A}" type="presParOf" srcId="{3C057C90-EFC8-4B9D-8B25-69FF5B13A76E}" destId="{5E478B66-AE51-4DC6-9957-302DF96F5044}" srcOrd="3" destOrd="0" presId="urn:diagrams.loki3.com/BracketList"/>
    <dgm:cxn modelId="{18B8A59A-CA67-480C-9C2F-59CD2B846F79}" type="presParOf" srcId="{3C057C90-EFC8-4B9D-8B25-69FF5B13A76E}" destId="{5135A6B9-2774-4E61-AC32-E8838A72CB57}" srcOrd="4" destOrd="0" presId="urn:diagrams.loki3.com/BracketList"/>
    <dgm:cxn modelId="{FBAEF42C-7AB6-4F61-B668-D2BF9FEAD37F}" type="presParOf" srcId="{5135A6B9-2774-4E61-AC32-E8838A72CB57}" destId="{B5D16947-6D9A-46BA-9A03-4AE0716FB504}" srcOrd="0" destOrd="0" presId="urn:diagrams.loki3.com/BracketList"/>
    <dgm:cxn modelId="{158BBA20-5D2C-47EA-AC9A-809933682E42}" type="presParOf" srcId="{5135A6B9-2774-4E61-AC32-E8838A72CB57}" destId="{D33226F5-0707-4836-8677-92C1198C943A}" srcOrd="1" destOrd="0" presId="urn:diagrams.loki3.com/BracketList"/>
    <dgm:cxn modelId="{D483FDAD-889B-498C-8BDC-E4EF8B7810C8}" type="presParOf" srcId="{5135A6B9-2774-4E61-AC32-E8838A72CB57}" destId="{87AC0CC7-3E28-4B4B-A0E4-4ECB2D4B6FF8}" srcOrd="2" destOrd="0" presId="urn:diagrams.loki3.com/BracketList"/>
    <dgm:cxn modelId="{6B2A47E4-01A8-4782-AE4A-99A0E980F455}" type="presParOf" srcId="{5135A6B9-2774-4E61-AC32-E8838A72CB57}" destId="{E8A27EE7-5ACB-4B9D-A1B7-E01006D53F16}" srcOrd="3" destOrd="0" presId="urn:diagrams.loki3.com/BracketList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34B303-E526-41F9-B250-FFE326A9BD1E}" type="doc">
      <dgm:prSet loTypeId="urn:microsoft.com/office/officeart/2005/8/layout/list1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F3FDBBD0-107B-4A39-B721-D066D260C8BA}">
      <dgm:prSet phldrT="[Text]" custT="1"/>
      <dgm:spPr/>
      <dgm:t>
        <a:bodyPr/>
        <a:lstStyle/>
        <a:p>
          <a:r>
            <a:rPr lang="en-US" sz="2400" dirty="0" smtClean="0"/>
            <a:t>Security</a:t>
          </a:r>
          <a:endParaRPr lang="en-US" sz="2400" dirty="0"/>
        </a:p>
      </dgm:t>
    </dgm:pt>
    <dgm:pt modelId="{5A5C1F2C-DD4E-40E4-A156-356D76BB5159}" type="parTrans" cxnId="{1AC6907B-0506-4D8E-8182-0CB56B683EF4}">
      <dgm:prSet/>
      <dgm:spPr/>
      <dgm:t>
        <a:bodyPr/>
        <a:lstStyle/>
        <a:p>
          <a:endParaRPr lang="en-US"/>
        </a:p>
      </dgm:t>
    </dgm:pt>
    <dgm:pt modelId="{3D9930FF-DC85-4C76-84FC-A34C0737C5AD}" type="sibTrans" cxnId="{1AC6907B-0506-4D8E-8182-0CB56B683EF4}">
      <dgm:prSet/>
      <dgm:spPr/>
      <dgm:t>
        <a:bodyPr/>
        <a:lstStyle/>
        <a:p>
          <a:endParaRPr lang="en-US"/>
        </a:p>
      </dgm:t>
    </dgm:pt>
    <dgm:pt modelId="{BCA35ADE-0EA1-4A6D-9F8E-061441517E64}">
      <dgm:prSet phldrT="[Text]" custT="1"/>
      <dgm:spPr/>
      <dgm:t>
        <a:bodyPr/>
        <a:lstStyle/>
        <a:p>
          <a:r>
            <a:rPr lang="en-US" sz="2200" dirty="0" smtClean="0"/>
            <a:t>It Involves Login, Logout and Payment </a:t>
          </a:r>
          <a:endParaRPr lang="en-US" sz="2200" dirty="0"/>
        </a:p>
      </dgm:t>
    </dgm:pt>
    <dgm:pt modelId="{8D082E96-FF11-497C-9FC1-C944AA0D3F61}" type="parTrans" cxnId="{2C8228D5-A213-4FC6-9F0C-06C5AC01BD10}">
      <dgm:prSet/>
      <dgm:spPr/>
      <dgm:t>
        <a:bodyPr/>
        <a:lstStyle/>
        <a:p>
          <a:endParaRPr lang="en-US"/>
        </a:p>
      </dgm:t>
    </dgm:pt>
    <dgm:pt modelId="{51F6907A-403D-4662-A3AD-20E184CD4C6F}" type="sibTrans" cxnId="{2C8228D5-A213-4FC6-9F0C-06C5AC01BD10}">
      <dgm:prSet/>
      <dgm:spPr/>
      <dgm:t>
        <a:bodyPr/>
        <a:lstStyle/>
        <a:p>
          <a:endParaRPr lang="en-US"/>
        </a:p>
      </dgm:t>
    </dgm:pt>
    <dgm:pt modelId="{E1EDB549-33EB-41DE-BD08-AD18CF6EB792}">
      <dgm:prSet custT="1"/>
      <dgm:spPr/>
      <dgm:t>
        <a:bodyPr/>
        <a:lstStyle/>
        <a:p>
          <a:r>
            <a:rPr lang="en-US" sz="2400" dirty="0" smtClean="0"/>
            <a:t>Explicit</a:t>
          </a:r>
          <a:endParaRPr lang="en-US" sz="2400" dirty="0"/>
        </a:p>
      </dgm:t>
    </dgm:pt>
    <dgm:pt modelId="{43424D5A-7D66-4580-BE17-11598A097767}" type="parTrans" cxnId="{897AC026-77FF-464E-8A84-688ACEC10827}">
      <dgm:prSet/>
      <dgm:spPr/>
      <dgm:t>
        <a:bodyPr/>
        <a:lstStyle/>
        <a:p>
          <a:endParaRPr lang="en-US"/>
        </a:p>
      </dgm:t>
    </dgm:pt>
    <dgm:pt modelId="{5476103C-9068-49BA-A74E-9F6422C0C114}" type="sibTrans" cxnId="{897AC026-77FF-464E-8A84-688ACEC10827}">
      <dgm:prSet/>
      <dgm:spPr/>
      <dgm:t>
        <a:bodyPr/>
        <a:lstStyle/>
        <a:p>
          <a:endParaRPr lang="en-US"/>
        </a:p>
      </dgm:t>
    </dgm:pt>
    <dgm:pt modelId="{256A7B79-6E74-4F91-A283-F25C592FECCA}">
      <dgm:prSet custT="1"/>
      <dgm:spPr/>
      <dgm:t>
        <a:bodyPr/>
        <a:lstStyle/>
        <a:p>
          <a:r>
            <a:rPr lang="en-US" sz="2200" dirty="0" smtClean="0"/>
            <a:t>It involves the method by which application can be invoked</a:t>
          </a:r>
          <a:endParaRPr lang="en-US" sz="2200" dirty="0"/>
        </a:p>
      </dgm:t>
    </dgm:pt>
    <dgm:pt modelId="{CFC69195-5F3C-46F6-8355-AAD4FBE40693}" type="parTrans" cxnId="{040378D4-71CB-4D5A-B192-4D6E54EF0402}">
      <dgm:prSet/>
      <dgm:spPr/>
      <dgm:t>
        <a:bodyPr/>
        <a:lstStyle/>
        <a:p>
          <a:endParaRPr lang="en-US"/>
        </a:p>
      </dgm:t>
    </dgm:pt>
    <dgm:pt modelId="{A0C6892D-5231-42AF-ADCD-D53469B5B8D1}" type="sibTrans" cxnId="{040378D4-71CB-4D5A-B192-4D6E54EF0402}">
      <dgm:prSet/>
      <dgm:spPr/>
      <dgm:t>
        <a:bodyPr/>
        <a:lstStyle/>
        <a:p>
          <a:endParaRPr lang="en-US"/>
        </a:p>
      </dgm:t>
    </dgm:pt>
    <dgm:pt modelId="{5B5A2065-B274-4D6A-89B3-451AD6DAAC45}">
      <dgm:prSet custT="1"/>
      <dgm:spPr/>
      <dgm:t>
        <a:bodyPr/>
        <a:lstStyle/>
        <a:p>
          <a:r>
            <a:rPr lang="en-US" sz="2400" dirty="0" smtClean="0"/>
            <a:t>Invocation</a:t>
          </a:r>
          <a:endParaRPr lang="en-US" sz="2400" dirty="0"/>
        </a:p>
      </dgm:t>
    </dgm:pt>
    <dgm:pt modelId="{E4EDADF8-750C-4D9B-B45A-766F2032D6B9}" type="parTrans" cxnId="{B9759723-A6DD-4446-8BAC-6884CDD2CCC5}">
      <dgm:prSet/>
      <dgm:spPr/>
      <dgm:t>
        <a:bodyPr/>
        <a:lstStyle/>
        <a:p>
          <a:endParaRPr lang="en-US"/>
        </a:p>
      </dgm:t>
    </dgm:pt>
    <dgm:pt modelId="{0C798F5F-4D5B-49FF-A3CC-A413D8159CEE}" type="sibTrans" cxnId="{B9759723-A6DD-4446-8BAC-6884CDD2CCC5}">
      <dgm:prSet/>
      <dgm:spPr/>
      <dgm:t>
        <a:bodyPr/>
        <a:lstStyle/>
        <a:p>
          <a:endParaRPr lang="en-US"/>
        </a:p>
      </dgm:t>
    </dgm:pt>
    <dgm:pt modelId="{A585E42B-ECA7-488C-AC64-9EDFCB3894B0}">
      <dgm:prSet custT="1"/>
      <dgm:spPr/>
      <dgm:t>
        <a:bodyPr/>
        <a:lstStyle/>
        <a:p>
          <a:r>
            <a:rPr lang="en-US" sz="2400" dirty="0" smtClean="0"/>
            <a:t>Implicit</a:t>
          </a:r>
          <a:endParaRPr lang="en-US" sz="2400" dirty="0"/>
        </a:p>
      </dgm:t>
    </dgm:pt>
    <dgm:pt modelId="{5C687397-28EE-475C-8D28-3603D5D16308}" type="parTrans" cxnId="{6AB48F23-95C5-4B61-A180-54BB44262AB6}">
      <dgm:prSet/>
      <dgm:spPr/>
      <dgm:t>
        <a:bodyPr/>
        <a:lstStyle/>
        <a:p>
          <a:endParaRPr lang="en-US"/>
        </a:p>
      </dgm:t>
    </dgm:pt>
    <dgm:pt modelId="{B89D3622-D9E4-43CA-99D4-43775F02AB20}" type="sibTrans" cxnId="{6AB48F23-95C5-4B61-A180-54BB44262AB6}">
      <dgm:prSet/>
      <dgm:spPr/>
      <dgm:t>
        <a:bodyPr/>
        <a:lstStyle/>
        <a:p>
          <a:endParaRPr lang="en-US"/>
        </a:p>
      </dgm:t>
    </dgm:pt>
    <dgm:pt modelId="{AB292C03-8A66-4802-8F22-392E5B7D97CF}">
      <dgm:prSet custT="1"/>
      <dgm:spPr/>
      <dgm:t>
        <a:bodyPr/>
        <a:lstStyle/>
        <a:p>
          <a:r>
            <a:rPr lang="en-US" sz="2200" dirty="0" smtClean="0"/>
            <a:t>It involves all function mention in Requirement sheet</a:t>
          </a:r>
          <a:endParaRPr lang="en-US" sz="2200" dirty="0"/>
        </a:p>
      </dgm:t>
    </dgm:pt>
    <dgm:pt modelId="{CB993BDF-1F18-4E5B-BB90-108608CE150E}" type="parTrans" cxnId="{AFCE91A2-C745-4785-8016-DF0C3ECC15C4}">
      <dgm:prSet/>
      <dgm:spPr/>
      <dgm:t>
        <a:bodyPr/>
        <a:lstStyle/>
        <a:p>
          <a:endParaRPr lang="en-US"/>
        </a:p>
      </dgm:t>
    </dgm:pt>
    <dgm:pt modelId="{CD38658F-4C1B-4736-B483-DD534660C04A}" type="sibTrans" cxnId="{AFCE91A2-C745-4785-8016-DF0C3ECC15C4}">
      <dgm:prSet/>
      <dgm:spPr/>
      <dgm:t>
        <a:bodyPr/>
        <a:lstStyle/>
        <a:p>
          <a:endParaRPr lang="en-US"/>
        </a:p>
      </dgm:t>
    </dgm:pt>
    <dgm:pt modelId="{5F341AB5-1FF4-4C0B-BBC2-7A6D72D95B18}">
      <dgm:prSet custT="1"/>
      <dgm:spPr/>
      <dgm:t>
        <a:bodyPr/>
        <a:lstStyle/>
        <a:p>
          <a:r>
            <a:rPr lang="en-US" sz="2200" dirty="0" smtClean="0"/>
            <a:t>It involves some common  function implemented by Developer itself</a:t>
          </a:r>
          <a:endParaRPr lang="en-US" sz="2200" dirty="0"/>
        </a:p>
      </dgm:t>
    </dgm:pt>
    <dgm:pt modelId="{6A729DBF-E375-44DE-A36A-3960BA0D9D68}" type="parTrans" cxnId="{83E2EF8B-1E6D-47F9-93A9-33DE54E47D96}">
      <dgm:prSet/>
      <dgm:spPr/>
      <dgm:t>
        <a:bodyPr/>
        <a:lstStyle/>
        <a:p>
          <a:endParaRPr lang="en-US"/>
        </a:p>
      </dgm:t>
    </dgm:pt>
    <dgm:pt modelId="{E7A57B35-A3D4-4C91-856B-168CCDB78078}" type="sibTrans" cxnId="{83E2EF8B-1E6D-47F9-93A9-33DE54E47D96}">
      <dgm:prSet/>
      <dgm:spPr/>
      <dgm:t>
        <a:bodyPr/>
        <a:lstStyle/>
        <a:p>
          <a:endParaRPr lang="en-US"/>
        </a:p>
      </dgm:t>
    </dgm:pt>
    <dgm:pt modelId="{21AADE91-18CE-48A5-8911-5D6050AB1696}" type="pres">
      <dgm:prSet presAssocID="{A134B303-E526-41F9-B250-FFE326A9BD1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997316F8-71B5-4507-9905-B0FA6AB95017}" type="pres">
      <dgm:prSet presAssocID="{F3FDBBD0-107B-4A39-B721-D066D260C8BA}" presName="parentLin" presStyleCnt="0"/>
      <dgm:spPr/>
      <dgm:t>
        <a:bodyPr/>
        <a:lstStyle/>
        <a:p>
          <a:endParaRPr lang="en-IN"/>
        </a:p>
      </dgm:t>
    </dgm:pt>
    <dgm:pt modelId="{775F7F91-02A1-4F42-8F42-AA8A117BA33F}" type="pres">
      <dgm:prSet presAssocID="{F3FDBBD0-107B-4A39-B721-D066D260C8BA}" presName="parentLeftMargin" presStyleLbl="node1" presStyleIdx="0" presStyleCnt="4"/>
      <dgm:spPr/>
      <dgm:t>
        <a:bodyPr/>
        <a:lstStyle/>
        <a:p>
          <a:endParaRPr lang="en-IN"/>
        </a:p>
      </dgm:t>
    </dgm:pt>
    <dgm:pt modelId="{4BAFE052-674F-4337-8E66-F6B07D18CE51}" type="pres">
      <dgm:prSet presAssocID="{F3FDBBD0-107B-4A39-B721-D066D260C8BA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2EC6E24-CB78-42A6-9225-21F790B26151}" type="pres">
      <dgm:prSet presAssocID="{F3FDBBD0-107B-4A39-B721-D066D260C8BA}" presName="negativeSpace" presStyleCnt="0"/>
      <dgm:spPr/>
      <dgm:t>
        <a:bodyPr/>
        <a:lstStyle/>
        <a:p>
          <a:endParaRPr lang="en-IN"/>
        </a:p>
      </dgm:t>
    </dgm:pt>
    <dgm:pt modelId="{136C9760-7296-4B7A-82F0-0DBB149A6142}" type="pres">
      <dgm:prSet presAssocID="{F3FDBBD0-107B-4A39-B721-D066D260C8BA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A94233B-428C-439C-BCC5-1EE45DCC7501}" type="pres">
      <dgm:prSet presAssocID="{3D9930FF-DC85-4C76-84FC-A34C0737C5AD}" presName="spaceBetweenRectangles" presStyleCnt="0"/>
      <dgm:spPr/>
      <dgm:t>
        <a:bodyPr/>
        <a:lstStyle/>
        <a:p>
          <a:endParaRPr lang="en-IN"/>
        </a:p>
      </dgm:t>
    </dgm:pt>
    <dgm:pt modelId="{AA276B7C-DCBA-493B-A36E-D95BE9085226}" type="pres">
      <dgm:prSet presAssocID="{E1EDB549-33EB-41DE-BD08-AD18CF6EB792}" presName="parentLin" presStyleCnt="0"/>
      <dgm:spPr/>
      <dgm:t>
        <a:bodyPr/>
        <a:lstStyle/>
        <a:p>
          <a:endParaRPr lang="en-IN"/>
        </a:p>
      </dgm:t>
    </dgm:pt>
    <dgm:pt modelId="{F99A6F8D-5C33-4E5B-934D-772620610BF7}" type="pres">
      <dgm:prSet presAssocID="{E1EDB549-33EB-41DE-BD08-AD18CF6EB792}" presName="parentLeftMargin" presStyleLbl="node1" presStyleIdx="0" presStyleCnt="4"/>
      <dgm:spPr/>
      <dgm:t>
        <a:bodyPr/>
        <a:lstStyle/>
        <a:p>
          <a:endParaRPr lang="en-IN"/>
        </a:p>
      </dgm:t>
    </dgm:pt>
    <dgm:pt modelId="{FF57340A-933C-4042-AE21-9B43BA52824B}" type="pres">
      <dgm:prSet presAssocID="{E1EDB549-33EB-41DE-BD08-AD18CF6EB792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973D675-9F93-46C2-BB6D-71AD7BDD87C4}" type="pres">
      <dgm:prSet presAssocID="{E1EDB549-33EB-41DE-BD08-AD18CF6EB792}" presName="negativeSpace" presStyleCnt="0"/>
      <dgm:spPr/>
      <dgm:t>
        <a:bodyPr/>
        <a:lstStyle/>
        <a:p>
          <a:endParaRPr lang="en-IN"/>
        </a:p>
      </dgm:t>
    </dgm:pt>
    <dgm:pt modelId="{B3BD9AB7-C007-4BE2-84BD-D87F8B8B74AD}" type="pres">
      <dgm:prSet presAssocID="{E1EDB549-33EB-41DE-BD08-AD18CF6EB792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94A8DEA-257D-4F24-B917-420237CC66A4}" type="pres">
      <dgm:prSet presAssocID="{5476103C-9068-49BA-A74E-9F6422C0C114}" presName="spaceBetweenRectangles" presStyleCnt="0"/>
      <dgm:spPr/>
      <dgm:t>
        <a:bodyPr/>
        <a:lstStyle/>
        <a:p>
          <a:endParaRPr lang="en-IN"/>
        </a:p>
      </dgm:t>
    </dgm:pt>
    <dgm:pt modelId="{A8779D67-23F8-4591-96B9-F4AAB854CD82}" type="pres">
      <dgm:prSet presAssocID="{A585E42B-ECA7-488C-AC64-9EDFCB3894B0}" presName="parentLin" presStyleCnt="0"/>
      <dgm:spPr/>
      <dgm:t>
        <a:bodyPr/>
        <a:lstStyle/>
        <a:p>
          <a:endParaRPr lang="en-IN"/>
        </a:p>
      </dgm:t>
    </dgm:pt>
    <dgm:pt modelId="{B451F303-928D-4963-AF66-C3C5B905786E}" type="pres">
      <dgm:prSet presAssocID="{A585E42B-ECA7-488C-AC64-9EDFCB3894B0}" presName="parentLeftMargin" presStyleLbl="node1" presStyleIdx="1" presStyleCnt="4"/>
      <dgm:spPr/>
      <dgm:t>
        <a:bodyPr/>
        <a:lstStyle/>
        <a:p>
          <a:endParaRPr lang="en-IN"/>
        </a:p>
      </dgm:t>
    </dgm:pt>
    <dgm:pt modelId="{FA6DD4AF-5EE8-454F-8CCB-C239F698341D}" type="pres">
      <dgm:prSet presAssocID="{A585E42B-ECA7-488C-AC64-9EDFCB3894B0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78D4C81-F1CD-4EAC-8D02-829242EC898E}" type="pres">
      <dgm:prSet presAssocID="{A585E42B-ECA7-488C-AC64-9EDFCB3894B0}" presName="negativeSpace" presStyleCnt="0"/>
      <dgm:spPr/>
      <dgm:t>
        <a:bodyPr/>
        <a:lstStyle/>
        <a:p>
          <a:endParaRPr lang="en-IN"/>
        </a:p>
      </dgm:t>
    </dgm:pt>
    <dgm:pt modelId="{E291F2C6-B77B-4CD3-BB81-E8B556F328B8}" type="pres">
      <dgm:prSet presAssocID="{A585E42B-ECA7-488C-AC64-9EDFCB3894B0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1BFFC04-5347-4B00-8B7B-FA89519772DD}" type="pres">
      <dgm:prSet presAssocID="{B89D3622-D9E4-43CA-99D4-43775F02AB20}" presName="spaceBetweenRectangles" presStyleCnt="0"/>
      <dgm:spPr/>
      <dgm:t>
        <a:bodyPr/>
        <a:lstStyle/>
        <a:p>
          <a:endParaRPr lang="en-IN"/>
        </a:p>
      </dgm:t>
    </dgm:pt>
    <dgm:pt modelId="{B756ACF5-7720-499C-A488-2674BA62A25D}" type="pres">
      <dgm:prSet presAssocID="{5B5A2065-B274-4D6A-89B3-451AD6DAAC45}" presName="parentLin" presStyleCnt="0"/>
      <dgm:spPr/>
      <dgm:t>
        <a:bodyPr/>
        <a:lstStyle/>
        <a:p>
          <a:endParaRPr lang="en-IN"/>
        </a:p>
      </dgm:t>
    </dgm:pt>
    <dgm:pt modelId="{359F0A5A-6724-44AF-9D17-0B485BEBF1B2}" type="pres">
      <dgm:prSet presAssocID="{5B5A2065-B274-4D6A-89B3-451AD6DAAC45}" presName="parentLeftMargin" presStyleLbl="node1" presStyleIdx="2" presStyleCnt="4"/>
      <dgm:spPr/>
      <dgm:t>
        <a:bodyPr/>
        <a:lstStyle/>
        <a:p>
          <a:endParaRPr lang="en-IN"/>
        </a:p>
      </dgm:t>
    </dgm:pt>
    <dgm:pt modelId="{23E0FB07-FA51-47A3-B9A4-BC46790A9635}" type="pres">
      <dgm:prSet presAssocID="{5B5A2065-B274-4D6A-89B3-451AD6DAAC45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4403C85-BED4-4BB1-AFBA-60D516E4A2C0}" type="pres">
      <dgm:prSet presAssocID="{5B5A2065-B274-4D6A-89B3-451AD6DAAC45}" presName="negativeSpace" presStyleCnt="0"/>
      <dgm:spPr/>
      <dgm:t>
        <a:bodyPr/>
        <a:lstStyle/>
        <a:p>
          <a:endParaRPr lang="en-IN"/>
        </a:p>
      </dgm:t>
    </dgm:pt>
    <dgm:pt modelId="{0D4C21B6-AAA6-4F25-B826-924DAFBB6691}" type="pres">
      <dgm:prSet presAssocID="{5B5A2065-B274-4D6A-89B3-451AD6DAAC45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E9F9BFB1-91CB-4051-B9DD-30C2403451E0}" type="presOf" srcId="{E1EDB549-33EB-41DE-BD08-AD18CF6EB792}" destId="{F99A6F8D-5C33-4E5B-934D-772620610BF7}" srcOrd="0" destOrd="0" presId="urn:microsoft.com/office/officeart/2005/8/layout/list1"/>
    <dgm:cxn modelId="{BAC3DDE2-92D3-44B8-B2C4-5174AA91BC4E}" type="presOf" srcId="{AB292C03-8A66-4802-8F22-392E5B7D97CF}" destId="{B3BD9AB7-C007-4BE2-84BD-D87F8B8B74AD}" srcOrd="0" destOrd="0" presId="urn:microsoft.com/office/officeart/2005/8/layout/list1"/>
    <dgm:cxn modelId="{897AC026-77FF-464E-8A84-688ACEC10827}" srcId="{A134B303-E526-41F9-B250-FFE326A9BD1E}" destId="{E1EDB549-33EB-41DE-BD08-AD18CF6EB792}" srcOrd="1" destOrd="0" parTransId="{43424D5A-7D66-4580-BE17-11598A097767}" sibTransId="{5476103C-9068-49BA-A74E-9F6422C0C114}"/>
    <dgm:cxn modelId="{81E714A2-4146-433A-9A11-D78A152CB71F}" type="presOf" srcId="{256A7B79-6E74-4F91-A283-F25C592FECCA}" destId="{0D4C21B6-AAA6-4F25-B826-924DAFBB6691}" srcOrd="0" destOrd="0" presId="urn:microsoft.com/office/officeart/2005/8/layout/list1"/>
    <dgm:cxn modelId="{83E2EF8B-1E6D-47F9-93A9-33DE54E47D96}" srcId="{A585E42B-ECA7-488C-AC64-9EDFCB3894B0}" destId="{5F341AB5-1FF4-4C0B-BBC2-7A6D72D95B18}" srcOrd="0" destOrd="0" parTransId="{6A729DBF-E375-44DE-A36A-3960BA0D9D68}" sibTransId="{E7A57B35-A3D4-4C91-856B-168CCDB78078}"/>
    <dgm:cxn modelId="{6AB48F23-95C5-4B61-A180-54BB44262AB6}" srcId="{A134B303-E526-41F9-B250-FFE326A9BD1E}" destId="{A585E42B-ECA7-488C-AC64-9EDFCB3894B0}" srcOrd="2" destOrd="0" parTransId="{5C687397-28EE-475C-8D28-3603D5D16308}" sibTransId="{B89D3622-D9E4-43CA-99D4-43775F02AB20}"/>
    <dgm:cxn modelId="{AFCE91A2-C745-4785-8016-DF0C3ECC15C4}" srcId="{E1EDB549-33EB-41DE-BD08-AD18CF6EB792}" destId="{AB292C03-8A66-4802-8F22-392E5B7D97CF}" srcOrd="0" destOrd="0" parTransId="{CB993BDF-1F18-4E5B-BB90-108608CE150E}" sibTransId="{CD38658F-4C1B-4736-B483-DD534660C04A}"/>
    <dgm:cxn modelId="{CBF9D473-A769-4355-8D94-ED1DF71448E3}" type="presOf" srcId="{BCA35ADE-0EA1-4A6D-9F8E-061441517E64}" destId="{136C9760-7296-4B7A-82F0-0DBB149A6142}" srcOrd="0" destOrd="0" presId="urn:microsoft.com/office/officeart/2005/8/layout/list1"/>
    <dgm:cxn modelId="{12DF23F1-A59B-4958-BBE0-01074D190896}" type="presOf" srcId="{5B5A2065-B274-4D6A-89B3-451AD6DAAC45}" destId="{359F0A5A-6724-44AF-9D17-0B485BEBF1B2}" srcOrd="0" destOrd="0" presId="urn:microsoft.com/office/officeart/2005/8/layout/list1"/>
    <dgm:cxn modelId="{393F11E5-1D88-4C66-886C-DC882BFD9981}" type="presOf" srcId="{F3FDBBD0-107B-4A39-B721-D066D260C8BA}" destId="{4BAFE052-674F-4337-8E66-F6B07D18CE51}" srcOrd="1" destOrd="0" presId="urn:microsoft.com/office/officeart/2005/8/layout/list1"/>
    <dgm:cxn modelId="{BB9B0C2E-3977-435F-A24B-F28013DEDE05}" type="presOf" srcId="{E1EDB549-33EB-41DE-BD08-AD18CF6EB792}" destId="{FF57340A-933C-4042-AE21-9B43BA52824B}" srcOrd="1" destOrd="0" presId="urn:microsoft.com/office/officeart/2005/8/layout/list1"/>
    <dgm:cxn modelId="{2C8228D5-A213-4FC6-9F0C-06C5AC01BD10}" srcId="{F3FDBBD0-107B-4A39-B721-D066D260C8BA}" destId="{BCA35ADE-0EA1-4A6D-9F8E-061441517E64}" srcOrd="0" destOrd="0" parTransId="{8D082E96-FF11-497C-9FC1-C944AA0D3F61}" sibTransId="{51F6907A-403D-4662-A3AD-20E184CD4C6F}"/>
    <dgm:cxn modelId="{1AC6907B-0506-4D8E-8182-0CB56B683EF4}" srcId="{A134B303-E526-41F9-B250-FFE326A9BD1E}" destId="{F3FDBBD0-107B-4A39-B721-D066D260C8BA}" srcOrd="0" destOrd="0" parTransId="{5A5C1F2C-DD4E-40E4-A156-356D76BB5159}" sibTransId="{3D9930FF-DC85-4C76-84FC-A34C0737C5AD}"/>
    <dgm:cxn modelId="{1BF3C7A3-EBD6-4B01-B189-00E92C022F4B}" type="presOf" srcId="{A134B303-E526-41F9-B250-FFE326A9BD1E}" destId="{21AADE91-18CE-48A5-8911-5D6050AB1696}" srcOrd="0" destOrd="0" presId="urn:microsoft.com/office/officeart/2005/8/layout/list1"/>
    <dgm:cxn modelId="{B9759723-A6DD-4446-8BAC-6884CDD2CCC5}" srcId="{A134B303-E526-41F9-B250-FFE326A9BD1E}" destId="{5B5A2065-B274-4D6A-89B3-451AD6DAAC45}" srcOrd="3" destOrd="0" parTransId="{E4EDADF8-750C-4D9B-B45A-766F2032D6B9}" sibTransId="{0C798F5F-4D5B-49FF-A3CC-A413D8159CEE}"/>
    <dgm:cxn modelId="{35912916-22ED-48ED-B39F-86B59D8D5414}" type="presOf" srcId="{5B5A2065-B274-4D6A-89B3-451AD6DAAC45}" destId="{23E0FB07-FA51-47A3-B9A4-BC46790A9635}" srcOrd="1" destOrd="0" presId="urn:microsoft.com/office/officeart/2005/8/layout/list1"/>
    <dgm:cxn modelId="{BFF13687-AEFC-4EB7-8636-2FF5084CDF03}" type="presOf" srcId="{A585E42B-ECA7-488C-AC64-9EDFCB3894B0}" destId="{FA6DD4AF-5EE8-454F-8CCB-C239F698341D}" srcOrd="1" destOrd="0" presId="urn:microsoft.com/office/officeart/2005/8/layout/list1"/>
    <dgm:cxn modelId="{E45AD932-5D35-4A53-BD10-52E1074AED8A}" type="presOf" srcId="{A585E42B-ECA7-488C-AC64-9EDFCB3894B0}" destId="{B451F303-928D-4963-AF66-C3C5B905786E}" srcOrd="0" destOrd="0" presId="urn:microsoft.com/office/officeart/2005/8/layout/list1"/>
    <dgm:cxn modelId="{A88D5CB9-549F-4F52-B182-11A15E827D1D}" type="presOf" srcId="{5F341AB5-1FF4-4C0B-BBC2-7A6D72D95B18}" destId="{E291F2C6-B77B-4CD3-BB81-E8B556F328B8}" srcOrd="0" destOrd="0" presId="urn:microsoft.com/office/officeart/2005/8/layout/list1"/>
    <dgm:cxn modelId="{1BB68189-5099-417E-A4BE-29D41A7BB9E9}" type="presOf" srcId="{F3FDBBD0-107B-4A39-B721-D066D260C8BA}" destId="{775F7F91-02A1-4F42-8F42-AA8A117BA33F}" srcOrd="0" destOrd="0" presId="urn:microsoft.com/office/officeart/2005/8/layout/list1"/>
    <dgm:cxn modelId="{040378D4-71CB-4D5A-B192-4D6E54EF0402}" srcId="{5B5A2065-B274-4D6A-89B3-451AD6DAAC45}" destId="{256A7B79-6E74-4F91-A283-F25C592FECCA}" srcOrd="0" destOrd="0" parTransId="{CFC69195-5F3C-46F6-8355-AAD4FBE40693}" sibTransId="{A0C6892D-5231-42AF-ADCD-D53469B5B8D1}"/>
    <dgm:cxn modelId="{7D114F09-54FC-4C74-B6C2-67BA0FD5D8CF}" type="presParOf" srcId="{21AADE91-18CE-48A5-8911-5D6050AB1696}" destId="{997316F8-71B5-4507-9905-B0FA6AB95017}" srcOrd="0" destOrd="0" presId="urn:microsoft.com/office/officeart/2005/8/layout/list1"/>
    <dgm:cxn modelId="{7280F4D1-7A5D-45EA-A447-87222B658647}" type="presParOf" srcId="{997316F8-71B5-4507-9905-B0FA6AB95017}" destId="{775F7F91-02A1-4F42-8F42-AA8A117BA33F}" srcOrd="0" destOrd="0" presId="urn:microsoft.com/office/officeart/2005/8/layout/list1"/>
    <dgm:cxn modelId="{ED543169-73CD-4327-BAC4-F5AAA98D5825}" type="presParOf" srcId="{997316F8-71B5-4507-9905-B0FA6AB95017}" destId="{4BAFE052-674F-4337-8E66-F6B07D18CE51}" srcOrd="1" destOrd="0" presId="urn:microsoft.com/office/officeart/2005/8/layout/list1"/>
    <dgm:cxn modelId="{53D38CA6-FCF0-4B4B-935F-9510E7AEA27F}" type="presParOf" srcId="{21AADE91-18CE-48A5-8911-5D6050AB1696}" destId="{F2EC6E24-CB78-42A6-9225-21F790B26151}" srcOrd="1" destOrd="0" presId="urn:microsoft.com/office/officeart/2005/8/layout/list1"/>
    <dgm:cxn modelId="{313D905A-67C3-4044-9D1A-D7853CDF0B6C}" type="presParOf" srcId="{21AADE91-18CE-48A5-8911-5D6050AB1696}" destId="{136C9760-7296-4B7A-82F0-0DBB149A6142}" srcOrd="2" destOrd="0" presId="urn:microsoft.com/office/officeart/2005/8/layout/list1"/>
    <dgm:cxn modelId="{57FD96CD-A047-40A6-A6A5-46E2D6363EE0}" type="presParOf" srcId="{21AADE91-18CE-48A5-8911-5D6050AB1696}" destId="{2A94233B-428C-439C-BCC5-1EE45DCC7501}" srcOrd="3" destOrd="0" presId="urn:microsoft.com/office/officeart/2005/8/layout/list1"/>
    <dgm:cxn modelId="{04AD5B5F-01FF-4B7E-ADAE-5C5302DDDAD1}" type="presParOf" srcId="{21AADE91-18CE-48A5-8911-5D6050AB1696}" destId="{AA276B7C-DCBA-493B-A36E-D95BE9085226}" srcOrd="4" destOrd="0" presId="urn:microsoft.com/office/officeart/2005/8/layout/list1"/>
    <dgm:cxn modelId="{E7B9ED39-FF7B-4926-906A-41EF39E586EF}" type="presParOf" srcId="{AA276B7C-DCBA-493B-A36E-D95BE9085226}" destId="{F99A6F8D-5C33-4E5B-934D-772620610BF7}" srcOrd="0" destOrd="0" presId="urn:microsoft.com/office/officeart/2005/8/layout/list1"/>
    <dgm:cxn modelId="{620FBD1D-404E-4929-AF4B-B1A62507680B}" type="presParOf" srcId="{AA276B7C-DCBA-493B-A36E-D95BE9085226}" destId="{FF57340A-933C-4042-AE21-9B43BA52824B}" srcOrd="1" destOrd="0" presId="urn:microsoft.com/office/officeart/2005/8/layout/list1"/>
    <dgm:cxn modelId="{9A77B377-FA35-454A-8772-5E16DAF9DDAD}" type="presParOf" srcId="{21AADE91-18CE-48A5-8911-5D6050AB1696}" destId="{F973D675-9F93-46C2-BB6D-71AD7BDD87C4}" srcOrd="5" destOrd="0" presId="urn:microsoft.com/office/officeart/2005/8/layout/list1"/>
    <dgm:cxn modelId="{8DE9B119-1C6B-464F-A2DE-C0888AE16B7E}" type="presParOf" srcId="{21AADE91-18CE-48A5-8911-5D6050AB1696}" destId="{B3BD9AB7-C007-4BE2-84BD-D87F8B8B74AD}" srcOrd="6" destOrd="0" presId="urn:microsoft.com/office/officeart/2005/8/layout/list1"/>
    <dgm:cxn modelId="{58380DE6-C260-43A6-93B0-33D27E6A5DE1}" type="presParOf" srcId="{21AADE91-18CE-48A5-8911-5D6050AB1696}" destId="{194A8DEA-257D-4F24-B917-420237CC66A4}" srcOrd="7" destOrd="0" presId="urn:microsoft.com/office/officeart/2005/8/layout/list1"/>
    <dgm:cxn modelId="{74DEB1C8-8279-42B2-9DFA-4BE6AE5E452F}" type="presParOf" srcId="{21AADE91-18CE-48A5-8911-5D6050AB1696}" destId="{A8779D67-23F8-4591-96B9-F4AAB854CD82}" srcOrd="8" destOrd="0" presId="urn:microsoft.com/office/officeart/2005/8/layout/list1"/>
    <dgm:cxn modelId="{EF45C779-1ABB-46A0-8B91-373270BB0A1C}" type="presParOf" srcId="{A8779D67-23F8-4591-96B9-F4AAB854CD82}" destId="{B451F303-928D-4963-AF66-C3C5B905786E}" srcOrd="0" destOrd="0" presId="urn:microsoft.com/office/officeart/2005/8/layout/list1"/>
    <dgm:cxn modelId="{5CE59ABF-E45A-4193-9D4D-9A16807D064B}" type="presParOf" srcId="{A8779D67-23F8-4591-96B9-F4AAB854CD82}" destId="{FA6DD4AF-5EE8-454F-8CCB-C239F698341D}" srcOrd="1" destOrd="0" presId="urn:microsoft.com/office/officeart/2005/8/layout/list1"/>
    <dgm:cxn modelId="{9A15B223-3B06-4EE4-B315-3CA2F3AB99ED}" type="presParOf" srcId="{21AADE91-18CE-48A5-8911-5D6050AB1696}" destId="{378D4C81-F1CD-4EAC-8D02-829242EC898E}" srcOrd="9" destOrd="0" presId="urn:microsoft.com/office/officeart/2005/8/layout/list1"/>
    <dgm:cxn modelId="{8671803F-543A-42D8-BDBB-679D9CD39FA0}" type="presParOf" srcId="{21AADE91-18CE-48A5-8911-5D6050AB1696}" destId="{E291F2C6-B77B-4CD3-BB81-E8B556F328B8}" srcOrd="10" destOrd="0" presId="urn:microsoft.com/office/officeart/2005/8/layout/list1"/>
    <dgm:cxn modelId="{184008AC-5A06-4A47-A59E-113159BE1DD4}" type="presParOf" srcId="{21AADE91-18CE-48A5-8911-5D6050AB1696}" destId="{71BFFC04-5347-4B00-8B7B-FA89519772DD}" srcOrd="11" destOrd="0" presId="urn:microsoft.com/office/officeart/2005/8/layout/list1"/>
    <dgm:cxn modelId="{6D999EA7-1738-4BFB-B1C9-6773774FDE1C}" type="presParOf" srcId="{21AADE91-18CE-48A5-8911-5D6050AB1696}" destId="{B756ACF5-7720-499C-A488-2674BA62A25D}" srcOrd="12" destOrd="0" presId="urn:microsoft.com/office/officeart/2005/8/layout/list1"/>
    <dgm:cxn modelId="{8D1A5935-902D-402E-B18D-3824BC1843D3}" type="presParOf" srcId="{B756ACF5-7720-499C-A488-2674BA62A25D}" destId="{359F0A5A-6724-44AF-9D17-0B485BEBF1B2}" srcOrd="0" destOrd="0" presId="urn:microsoft.com/office/officeart/2005/8/layout/list1"/>
    <dgm:cxn modelId="{D7547CA6-80EC-4D8B-BE5A-6954281EA347}" type="presParOf" srcId="{B756ACF5-7720-499C-A488-2674BA62A25D}" destId="{23E0FB07-FA51-47A3-B9A4-BC46790A9635}" srcOrd="1" destOrd="0" presId="urn:microsoft.com/office/officeart/2005/8/layout/list1"/>
    <dgm:cxn modelId="{32AA59F7-31C8-494A-8087-922CA80DC44F}" type="presParOf" srcId="{21AADE91-18CE-48A5-8911-5D6050AB1696}" destId="{F4403C85-BED4-4BB1-AFBA-60D516E4A2C0}" srcOrd="13" destOrd="0" presId="urn:microsoft.com/office/officeart/2005/8/layout/list1"/>
    <dgm:cxn modelId="{3E885E2F-78F8-4605-BF36-E3AAC36F8338}" type="presParOf" srcId="{21AADE91-18CE-48A5-8911-5D6050AB1696}" destId="{0D4C21B6-AAA6-4F25-B826-924DAFBB669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134B303-E526-41F9-B250-FFE326A9BD1E}" type="doc">
      <dgm:prSet loTypeId="urn:microsoft.com/office/officeart/2005/8/layout/list1" loCatId="list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3FDBBD0-107B-4A39-B721-D066D260C8BA}">
      <dgm:prSet phldrT="[Text]" custT="1"/>
      <dgm:spPr/>
      <dgm:t>
        <a:bodyPr/>
        <a:lstStyle/>
        <a:p>
          <a:r>
            <a:rPr lang="en-US" sz="2400" dirty="0" smtClean="0"/>
            <a:t>Termination</a:t>
          </a:r>
          <a:endParaRPr lang="en-US" sz="2400" dirty="0"/>
        </a:p>
      </dgm:t>
    </dgm:pt>
    <dgm:pt modelId="{5A5C1F2C-DD4E-40E4-A156-356D76BB5159}" type="parTrans" cxnId="{1AC6907B-0506-4D8E-8182-0CB56B683EF4}">
      <dgm:prSet/>
      <dgm:spPr/>
      <dgm:t>
        <a:bodyPr/>
        <a:lstStyle/>
        <a:p>
          <a:endParaRPr lang="en-US"/>
        </a:p>
      </dgm:t>
    </dgm:pt>
    <dgm:pt modelId="{3D9930FF-DC85-4C76-84FC-A34C0737C5AD}" type="sibTrans" cxnId="{1AC6907B-0506-4D8E-8182-0CB56B683EF4}">
      <dgm:prSet/>
      <dgm:spPr/>
      <dgm:t>
        <a:bodyPr/>
        <a:lstStyle/>
        <a:p>
          <a:endParaRPr lang="en-US"/>
        </a:p>
      </dgm:t>
    </dgm:pt>
    <dgm:pt modelId="{BCA35ADE-0EA1-4A6D-9F8E-061441517E64}">
      <dgm:prSet phldrT="[Text]" custT="1"/>
      <dgm:spPr/>
      <dgm:t>
        <a:bodyPr/>
        <a:lstStyle/>
        <a:p>
          <a:r>
            <a:rPr lang="en-US" sz="2200" dirty="0" smtClean="0"/>
            <a:t>It involves the method by which application can be invoked</a:t>
          </a:r>
          <a:endParaRPr lang="en-US" sz="2200" dirty="0"/>
        </a:p>
      </dgm:t>
    </dgm:pt>
    <dgm:pt modelId="{8D082E96-FF11-497C-9FC1-C944AA0D3F61}" type="parTrans" cxnId="{2C8228D5-A213-4FC6-9F0C-06C5AC01BD10}">
      <dgm:prSet/>
      <dgm:spPr/>
      <dgm:t>
        <a:bodyPr/>
        <a:lstStyle/>
        <a:p>
          <a:endParaRPr lang="en-US"/>
        </a:p>
      </dgm:t>
    </dgm:pt>
    <dgm:pt modelId="{51F6907A-403D-4662-A3AD-20E184CD4C6F}" type="sibTrans" cxnId="{2C8228D5-A213-4FC6-9F0C-06C5AC01BD10}">
      <dgm:prSet/>
      <dgm:spPr/>
      <dgm:t>
        <a:bodyPr/>
        <a:lstStyle/>
        <a:p>
          <a:endParaRPr lang="en-US"/>
        </a:p>
      </dgm:t>
    </dgm:pt>
    <dgm:pt modelId="{E1EDB549-33EB-41DE-BD08-AD18CF6EB792}">
      <dgm:prSet custT="1"/>
      <dgm:spPr/>
      <dgm:t>
        <a:bodyPr/>
        <a:lstStyle/>
        <a:p>
          <a:r>
            <a:rPr lang="en-US" sz="2400" dirty="0" smtClean="0"/>
            <a:t>File Handling</a:t>
          </a:r>
          <a:endParaRPr lang="en-US" sz="2400" dirty="0"/>
        </a:p>
      </dgm:t>
    </dgm:pt>
    <dgm:pt modelId="{43424D5A-7D66-4580-BE17-11598A097767}" type="parTrans" cxnId="{897AC026-77FF-464E-8A84-688ACEC10827}">
      <dgm:prSet/>
      <dgm:spPr/>
      <dgm:t>
        <a:bodyPr/>
        <a:lstStyle/>
        <a:p>
          <a:endParaRPr lang="en-US"/>
        </a:p>
      </dgm:t>
    </dgm:pt>
    <dgm:pt modelId="{5476103C-9068-49BA-A74E-9F6422C0C114}" type="sibTrans" cxnId="{897AC026-77FF-464E-8A84-688ACEC10827}">
      <dgm:prSet/>
      <dgm:spPr/>
      <dgm:t>
        <a:bodyPr/>
        <a:lstStyle/>
        <a:p>
          <a:endParaRPr lang="en-US"/>
        </a:p>
      </dgm:t>
    </dgm:pt>
    <dgm:pt modelId="{256A7B79-6E74-4F91-A283-F25C592FECCA}">
      <dgm:prSet custT="1"/>
      <dgm:spPr/>
      <dgm:t>
        <a:bodyPr/>
        <a:lstStyle/>
        <a:p>
          <a:r>
            <a:rPr lang="en-US" sz="2200" dirty="0" smtClean="0"/>
            <a:t>It involve the things that need to be confirmed</a:t>
          </a:r>
          <a:endParaRPr lang="en-US" sz="2200" dirty="0"/>
        </a:p>
      </dgm:t>
    </dgm:pt>
    <dgm:pt modelId="{CFC69195-5F3C-46F6-8355-AAD4FBE40693}" type="parTrans" cxnId="{040378D4-71CB-4D5A-B192-4D6E54EF0402}">
      <dgm:prSet/>
      <dgm:spPr/>
      <dgm:t>
        <a:bodyPr/>
        <a:lstStyle/>
        <a:p>
          <a:endParaRPr lang="en-US"/>
        </a:p>
      </dgm:t>
    </dgm:pt>
    <dgm:pt modelId="{A0C6892D-5231-42AF-ADCD-D53469B5B8D1}" type="sibTrans" cxnId="{040378D4-71CB-4D5A-B192-4D6E54EF0402}">
      <dgm:prSet/>
      <dgm:spPr/>
      <dgm:t>
        <a:bodyPr/>
        <a:lstStyle/>
        <a:p>
          <a:endParaRPr lang="en-US"/>
        </a:p>
      </dgm:t>
    </dgm:pt>
    <dgm:pt modelId="{B027F422-5834-4D16-A673-2C19ACB88435}">
      <dgm:prSet custT="1"/>
      <dgm:spPr/>
      <dgm:t>
        <a:bodyPr/>
        <a:lstStyle/>
        <a:p>
          <a:r>
            <a:rPr lang="en-US" sz="2400" dirty="0" smtClean="0"/>
            <a:t>System</a:t>
          </a:r>
          <a:endParaRPr lang="en-US" sz="2400" dirty="0"/>
        </a:p>
      </dgm:t>
    </dgm:pt>
    <dgm:pt modelId="{F4F5F12B-8769-4639-A161-20D9DD31C646}" type="parTrans" cxnId="{959096E4-1EFE-4CFA-9FCA-B9C22EB3A098}">
      <dgm:prSet/>
      <dgm:spPr/>
      <dgm:t>
        <a:bodyPr/>
        <a:lstStyle/>
        <a:p>
          <a:endParaRPr lang="en-US"/>
        </a:p>
      </dgm:t>
    </dgm:pt>
    <dgm:pt modelId="{B01B0643-A261-47B2-847F-2D0E042A8033}" type="sibTrans" cxnId="{959096E4-1EFE-4CFA-9FCA-B9C22EB3A098}">
      <dgm:prSet/>
      <dgm:spPr/>
      <dgm:t>
        <a:bodyPr/>
        <a:lstStyle/>
        <a:p>
          <a:endParaRPr lang="en-US"/>
        </a:p>
      </dgm:t>
    </dgm:pt>
    <dgm:pt modelId="{CF971A2E-8C04-41E4-9228-ADC08FB91DE7}">
      <dgm:prSet custT="1"/>
      <dgm:spPr/>
      <dgm:t>
        <a:bodyPr/>
        <a:lstStyle/>
        <a:p>
          <a:r>
            <a:rPr lang="en-US" sz="2400" dirty="0" smtClean="0"/>
            <a:t>Error Handling</a:t>
          </a:r>
          <a:endParaRPr lang="en-US" sz="2400" dirty="0"/>
        </a:p>
      </dgm:t>
    </dgm:pt>
    <dgm:pt modelId="{6F34695A-CDF8-4E3F-8617-4E62D753A249}" type="parTrans" cxnId="{6686365D-5607-45F1-B7A8-1181C736ECBC}">
      <dgm:prSet/>
      <dgm:spPr/>
      <dgm:t>
        <a:bodyPr/>
        <a:lstStyle/>
        <a:p>
          <a:endParaRPr lang="en-US"/>
        </a:p>
      </dgm:t>
    </dgm:pt>
    <dgm:pt modelId="{0733D6B3-158E-4FB7-B075-9B62B738676A}" type="sibTrans" cxnId="{6686365D-5607-45F1-B7A8-1181C736ECBC}">
      <dgm:prSet/>
      <dgm:spPr/>
      <dgm:t>
        <a:bodyPr/>
        <a:lstStyle/>
        <a:p>
          <a:endParaRPr lang="en-US"/>
        </a:p>
      </dgm:t>
    </dgm:pt>
    <dgm:pt modelId="{7B2FCEBE-E3AA-4948-AF29-937DC4590161}">
      <dgm:prSet custT="1"/>
      <dgm:spPr/>
      <dgm:t>
        <a:bodyPr/>
        <a:lstStyle/>
        <a:p>
          <a:r>
            <a:rPr lang="en-US" sz="2400" dirty="0" smtClean="0"/>
            <a:t>Query</a:t>
          </a:r>
          <a:endParaRPr lang="en-US" sz="2400" dirty="0"/>
        </a:p>
      </dgm:t>
    </dgm:pt>
    <dgm:pt modelId="{499ED00D-3478-47F9-B259-471EF23064F0}" type="parTrans" cxnId="{BB60EBE6-801E-44C8-9A1C-C0A400FF8DB1}">
      <dgm:prSet/>
      <dgm:spPr/>
      <dgm:t>
        <a:bodyPr/>
        <a:lstStyle/>
        <a:p>
          <a:endParaRPr lang="en-US"/>
        </a:p>
      </dgm:t>
    </dgm:pt>
    <dgm:pt modelId="{1E9AE699-3743-4780-B66C-EF3E4DE89AB5}" type="sibTrans" cxnId="{BB60EBE6-801E-44C8-9A1C-C0A400FF8DB1}">
      <dgm:prSet/>
      <dgm:spPr/>
      <dgm:t>
        <a:bodyPr/>
        <a:lstStyle/>
        <a:p>
          <a:endParaRPr lang="en-US"/>
        </a:p>
      </dgm:t>
    </dgm:pt>
    <dgm:pt modelId="{FE316202-30E7-4FDE-918F-3E16D107E388}">
      <dgm:prSet custT="1"/>
      <dgm:spPr/>
      <dgm:t>
        <a:bodyPr/>
        <a:lstStyle/>
        <a:p>
          <a:r>
            <a:rPr lang="en-US" sz="2200" dirty="0" smtClean="0"/>
            <a:t>It involves the system requirements</a:t>
          </a:r>
          <a:endParaRPr lang="en-US" sz="2200" dirty="0"/>
        </a:p>
      </dgm:t>
    </dgm:pt>
    <dgm:pt modelId="{1B95BE61-7FBA-4270-A271-5B67E23A09FD}" type="parTrans" cxnId="{B286E35D-1325-4B8B-B80E-C5E15F1B1FB7}">
      <dgm:prSet/>
      <dgm:spPr/>
      <dgm:t>
        <a:bodyPr/>
        <a:lstStyle/>
        <a:p>
          <a:endParaRPr lang="en-US"/>
        </a:p>
      </dgm:t>
    </dgm:pt>
    <dgm:pt modelId="{06D4B655-DB78-4BCD-B1A9-7CB4817F6953}" type="sibTrans" cxnId="{B286E35D-1325-4B8B-B80E-C5E15F1B1FB7}">
      <dgm:prSet/>
      <dgm:spPr/>
      <dgm:t>
        <a:bodyPr/>
        <a:lstStyle/>
        <a:p>
          <a:endParaRPr lang="en-US"/>
        </a:p>
      </dgm:t>
    </dgm:pt>
    <dgm:pt modelId="{62C9A960-08C6-437C-A9AF-7DCA9B382092}">
      <dgm:prSet custT="1"/>
      <dgm:spPr/>
      <dgm:t>
        <a:bodyPr/>
        <a:lstStyle/>
        <a:p>
          <a:r>
            <a:rPr lang="en-US" sz="2200" dirty="0" smtClean="0"/>
            <a:t>It involves the storing of files in data base</a:t>
          </a:r>
          <a:endParaRPr lang="en-US" sz="2200" dirty="0"/>
        </a:p>
      </dgm:t>
    </dgm:pt>
    <dgm:pt modelId="{EACF8CEA-24C2-4D15-8438-02AB78149A1B}" type="parTrans" cxnId="{FFF3AD15-487B-49BA-9032-11A884435623}">
      <dgm:prSet/>
      <dgm:spPr/>
      <dgm:t>
        <a:bodyPr/>
        <a:lstStyle/>
        <a:p>
          <a:endParaRPr lang="en-US"/>
        </a:p>
      </dgm:t>
    </dgm:pt>
    <dgm:pt modelId="{9274E6D9-3533-40D6-996C-9C6748C5809B}" type="sibTrans" cxnId="{FFF3AD15-487B-49BA-9032-11A884435623}">
      <dgm:prSet/>
      <dgm:spPr/>
      <dgm:t>
        <a:bodyPr/>
        <a:lstStyle/>
        <a:p>
          <a:endParaRPr lang="en-US"/>
        </a:p>
      </dgm:t>
    </dgm:pt>
    <dgm:pt modelId="{F21CD650-9B52-4831-9DA9-5519DB106AB1}">
      <dgm:prSet custT="1"/>
      <dgm:spPr/>
      <dgm:t>
        <a:bodyPr/>
        <a:lstStyle/>
        <a:p>
          <a:r>
            <a:rPr lang="en-US" sz="2200" dirty="0" smtClean="0"/>
            <a:t>It involves the possible error </a:t>
          </a:r>
          <a:endParaRPr lang="en-US" sz="2200" dirty="0"/>
        </a:p>
      </dgm:t>
    </dgm:pt>
    <dgm:pt modelId="{65E71C06-592E-42BE-B981-A110AB3FCAE6}" type="parTrans" cxnId="{17C26E79-DC32-4D4C-9659-0764E78DD167}">
      <dgm:prSet/>
      <dgm:spPr/>
      <dgm:t>
        <a:bodyPr/>
        <a:lstStyle/>
        <a:p>
          <a:endParaRPr lang="en-US"/>
        </a:p>
      </dgm:t>
    </dgm:pt>
    <dgm:pt modelId="{47FADACE-A9C8-4CFE-81AC-6D6E7E332E0F}" type="sibTrans" cxnId="{17C26E79-DC32-4D4C-9659-0764E78DD167}">
      <dgm:prSet/>
      <dgm:spPr/>
      <dgm:t>
        <a:bodyPr/>
        <a:lstStyle/>
        <a:p>
          <a:endParaRPr lang="en-US"/>
        </a:p>
      </dgm:t>
    </dgm:pt>
    <dgm:pt modelId="{F635083C-E0CE-4665-BF4E-18EE6E7D6800}" type="pres">
      <dgm:prSet presAssocID="{A134B303-E526-41F9-B250-FFE326A9BD1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E9F281F7-CE4D-4AC0-94CB-542362E46087}" type="pres">
      <dgm:prSet presAssocID="{F3FDBBD0-107B-4A39-B721-D066D260C8BA}" presName="parentLin" presStyleCnt="0"/>
      <dgm:spPr/>
      <dgm:t>
        <a:bodyPr/>
        <a:lstStyle/>
        <a:p>
          <a:endParaRPr lang="en-IN"/>
        </a:p>
      </dgm:t>
    </dgm:pt>
    <dgm:pt modelId="{84CFECBB-BCC2-4A8C-8612-CE911B9B83F4}" type="pres">
      <dgm:prSet presAssocID="{F3FDBBD0-107B-4A39-B721-D066D260C8BA}" presName="parentLeftMargin" presStyleLbl="node1" presStyleIdx="0" presStyleCnt="5"/>
      <dgm:spPr/>
      <dgm:t>
        <a:bodyPr/>
        <a:lstStyle/>
        <a:p>
          <a:endParaRPr lang="en-IN"/>
        </a:p>
      </dgm:t>
    </dgm:pt>
    <dgm:pt modelId="{61CAA2F2-FE39-43B7-AD46-3E12BA66F582}" type="pres">
      <dgm:prSet presAssocID="{F3FDBBD0-107B-4A39-B721-D066D260C8BA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4654B4F-555F-4D06-BD4E-8A52450A9CC9}" type="pres">
      <dgm:prSet presAssocID="{F3FDBBD0-107B-4A39-B721-D066D260C8BA}" presName="negativeSpace" presStyleCnt="0"/>
      <dgm:spPr/>
      <dgm:t>
        <a:bodyPr/>
        <a:lstStyle/>
        <a:p>
          <a:endParaRPr lang="en-IN"/>
        </a:p>
      </dgm:t>
    </dgm:pt>
    <dgm:pt modelId="{72E936ED-2E80-4C23-8288-E093D998BFFC}" type="pres">
      <dgm:prSet presAssocID="{F3FDBBD0-107B-4A39-B721-D066D260C8BA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11C572F-BE0D-482F-BC5F-C49B5303A5ED}" type="pres">
      <dgm:prSet presAssocID="{3D9930FF-DC85-4C76-84FC-A34C0737C5AD}" presName="spaceBetweenRectangles" presStyleCnt="0"/>
      <dgm:spPr/>
      <dgm:t>
        <a:bodyPr/>
        <a:lstStyle/>
        <a:p>
          <a:endParaRPr lang="en-IN"/>
        </a:p>
      </dgm:t>
    </dgm:pt>
    <dgm:pt modelId="{60DC7642-A4FA-4CC5-BD2B-E452E56A3DBA}" type="pres">
      <dgm:prSet presAssocID="{E1EDB549-33EB-41DE-BD08-AD18CF6EB792}" presName="parentLin" presStyleCnt="0"/>
      <dgm:spPr/>
      <dgm:t>
        <a:bodyPr/>
        <a:lstStyle/>
        <a:p>
          <a:endParaRPr lang="en-IN"/>
        </a:p>
      </dgm:t>
    </dgm:pt>
    <dgm:pt modelId="{6AE2A1C4-2E8B-4C58-ADA6-FA4013E4A403}" type="pres">
      <dgm:prSet presAssocID="{E1EDB549-33EB-41DE-BD08-AD18CF6EB792}" presName="parentLeftMargin" presStyleLbl="node1" presStyleIdx="0" presStyleCnt="5"/>
      <dgm:spPr/>
      <dgm:t>
        <a:bodyPr/>
        <a:lstStyle/>
        <a:p>
          <a:endParaRPr lang="en-IN"/>
        </a:p>
      </dgm:t>
    </dgm:pt>
    <dgm:pt modelId="{A046689B-1667-47A1-8FC6-AC8CE77D6CD3}" type="pres">
      <dgm:prSet presAssocID="{E1EDB549-33EB-41DE-BD08-AD18CF6EB792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592909-0DEB-44D7-A09B-9C79EE699664}" type="pres">
      <dgm:prSet presAssocID="{E1EDB549-33EB-41DE-BD08-AD18CF6EB792}" presName="negativeSpace" presStyleCnt="0"/>
      <dgm:spPr/>
      <dgm:t>
        <a:bodyPr/>
        <a:lstStyle/>
        <a:p>
          <a:endParaRPr lang="en-IN"/>
        </a:p>
      </dgm:t>
    </dgm:pt>
    <dgm:pt modelId="{24B173B3-AAB9-45B8-872C-B789B679372B}" type="pres">
      <dgm:prSet presAssocID="{E1EDB549-33EB-41DE-BD08-AD18CF6EB792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DD4F7A1-13A1-49A3-9D46-F98DA148354C}" type="pres">
      <dgm:prSet presAssocID="{5476103C-9068-49BA-A74E-9F6422C0C114}" presName="spaceBetweenRectangles" presStyleCnt="0"/>
      <dgm:spPr/>
      <dgm:t>
        <a:bodyPr/>
        <a:lstStyle/>
        <a:p>
          <a:endParaRPr lang="en-IN"/>
        </a:p>
      </dgm:t>
    </dgm:pt>
    <dgm:pt modelId="{FA26446F-215B-4D23-9C57-CA3A5E47DB2E}" type="pres">
      <dgm:prSet presAssocID="{CF971A2E-8C04-41E4-9228-ADC08FB91DE7}" presName="parentLin" presStyleCnt="0"/>
      <dgm:spPr/>
      <dgm:t>
        <a:bodyPr/>
        <a:lstStyle/>
        <a:p>
          <a:endParaRPr lang="en-IN"/>
        </a:p>
      </dgm:t>
    </dgm:pt>
    <dgm:pt modelId="{1A5BDA6E-7644-4CDD-BA49-BE189F6C509B}" type="pres">
      <dgm:prSet presAssocID="{CF971A2E-8C04-41E4-9228-ADC08FB91DE7}" presName="parentLeftMargin" presStyleLbl="node1" presStyleIdx="1" presStyleCnt="5"/>
      <dgm:spPr/>
      <dgm:t>
        <a:bodyPr/>
        <a:lstStyle/>
        <a:p>
          <a:endParaRPr lang="en-IN"/>
        </a:p>
      </dgm:t>
    </dgm:pt>
    <dgm:pt modelId="{1A7BFDAB-56A7-4B99-8602-4A9F24FB13E1}" type="pres">
      <dgm:prSet presAssocID="{CF971A2E-8C04-41E4-9228-ADC08FB91DE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53BB531-CEE7-4F07-B4A4-A689DBE90BB3}" type="pres">
      <dgm:prSet presAssocID="{CF971A2E-8C04-41E4-9228-ADC08FB91DE7}" presName="negativeSpace" presStyleCnt="0"/>
      <dgm:spPr/>
      <dgm:t>
        <a:bodyPr/>
        <a:lstStyle/>
        <a:p>
          <a:endParaRPr lang="en-IN"/>
        </a:p>
      </dgm:t>
    </dgm:pt>
    <dgm:pt modelId="{2FDF8ABE-7B9F-452E-B8F3-F2A6CCF850F1}" type="pres">
      <dgm:prSet presAssocID="{CF971A2E-8C04-41E4-9228-ADC08FB91DE7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82535C1-E32D-41A2-AD21-5B845C5A0BB4}" type="pres">
      <dgm:prSet presAssocID="{0733D6B3-158E-4FB7-B075-9B62B738676A}" presName="spaceBetweenRectangles" presStyleCnt="0"/>
      <dgm:spPr/>
      <dgm:t>
        <a:bodyPr/>
        <a:lstStyle/>
        <a:p>
          <a:endParaRPr lang="en-IN"/>
        </a:p>
      </dgm:t>
    </dgm:pt>
    <dgm:pt modelId="{5981D261-0A61-4B2B-9082-9C816A2F9DF6}" type="pres">
      <dgm:prSet presAssocID="{B027F422-5834-4D16-A673-2C19ACB88435}" presName="parentLin" presStyleCnt="0"/>
      <dgm:spPr/>
      <dgm:t>
        <a:bodyPr/>
        <a:lstStyle/>
        <a:p>
          <a:endParaRPr lang="en-IN"/>
        </a:p>
      </dgm:t>
    </dgm:pt>
    <dgm:pt modelId="{6FA159B3-7967-4B99-8720-84DE3E7835EC}" type="pres">
      <dgm:prSet presAssocID="{B027F422-5834-4D16-A673-2C19ACB88435}" presName="parentLeftMargin" presStyleLbl="node1" presStyleIdx="2" presStyleCnt="5"/>
      <dgm:spPr/>
      <dgm:t>
        <a:bodyPr/>
        <a:lstStyle/>
        <a:p>
          <a:endParaRPr lang="en-IN"/>
        </a:p>
      </dgm:t>
    </dgm:pt>
    <dgm:pt modelId="{9F2AEDE0-ACE1-44AB-8FC8-87D8CAE4C3DB}" type="pres">
      <dgm:prSet presAssocID="{B027F422-5834-4D16-A673-2C19ACB8843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6734F35-96D3-4146-BAA6-77D51BA383F6}" type="pres">
      <dgm:prSet presAssocID="{B027F422-5834-4D16-A673-2C19ACB88435}" presName="negativeSpace" presStyleCnt="0"/>
      <dgm:spPr/>
      <dgm:t>
        <a:bodyPr/>
        <a:lstStyle/>
        <a:p>
          <a:endParaRPr lang="en-IN"/>
        </a:p>
      </dgm:t>
    </dgm:pt>
    <dgm:pt modelId="{67C55FD1-2570-4BC1-80F9-9D2CCA535984}" type="pres">
      <dgm:prSet presAssocID="{B027F422-5834-4D16-A673-2C19ACB88435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295F22C-4C07-493A-9CCA-CB54736945CE}" type="pres">
      <dgm:prSet presAssocID="{B01B0643-A261-47B2-847F-2D0E042A8033}" presName="spaceBetweenRectangles" presStyleCnt="0"/>
      <dgm:spPr/>
      <dgm:t>
        <a:bodyPr/>
        <a:lstStyle/>
        <a:p>
          <a:endParaRPr lang="en-IN"/>
        </a:p>
      </dgm:t>
    </dgm:pt>
    <dgm:pt modelId="{BDB279B2-6AF4-4E63-8FC3-8342208D09D1}" type="pres">
      <dgm:prSet presAssocID="{7B2FCEBE-E3AA-4948-AF29-937DC4590161}" presName="parentLin" presStyleCnt="0"/>
      <dgm:spPr/>
      <dgm:t>
        <a:bodyPr/>
        <a:lstStyle/>
        <a:p>
          <a:endParaRPr lang="en-IN"/>
        </a:p>
      </dgm:t>
    </dgm:pt>
    <dgm:pt modelId="{40F0B274-7527-4431-9DBB-5D2BC58F64E6}" type="pres">
      <dgm:prSet presAssocID="{7B2FCEBE-E3AA-4948-AF29-937DC4590161}" presName="parentLeftMargin" presStyleLbl="node1" presStyleIdx="3" presStyleCnt="5"/>
      <dgm:spPr/>
      <dgm:t>
        <a:bodyPr/>
        <a:lstStyle/>
        <a:p>
          <a:endParaRPr lang="en-IN"/>
        </a:p>
      </dgm:t>
    </dgm:pt>
    <dgm:pt modelId="{0B9D3158-269D-4AD1-B0A6-0F33B239E3C9}" type="pres">
      <dgm:prSet presAssocID="{7B2FCEBE-E3AA-4948-AF29-937DC4590161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1DAFE1E-349C-46AE-82BA-C17A053E6DEC}" type="pres">
      <dgm:prSet presAssocID="{7B2FCEBE-E3AA-4948-AF29-937DC4590161}" presName="negativeSpace" presStyleCnt="0"/>
      <dgm:spPr/>
      <dgm:t>
        <a:bodyPr/>
        <a:lstStyle/>
        <a:p>
          <a:endParaRPr lang="en-IN"/>
        </a:p>
      </dgm:t>
    </dgm:pt>
    <dgm:pt modelId="{A15C8BB8-4B76-4D70-98B6-36D058911949}" type="pres">
      <dgm:prSet presAssocID="{7B2FCEBE-E3AA-4948-AF29-937DC4590161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B82A6320-C127-409A-8054-E1CD00D83024}" type="presOf" srcId="{A134B303-E526-41F9-B250-FFE326A9BD1E}" destId="{F635083C-E0CE-4665-BF4E-18EE6E7D6800}" srcOrd="0" destOrd="0" presId="urn:microsoft.com/office/officeart/2005/8/layout/list1"/>
    <dgm:cxn modelId="{75E82371-DED6-4C77-8FC8-2AC33BE98E68}" type="presOf" srcId="{CF971A2E-8C04-41E4-9228-ADC08FB91DE7}" destId="{1A7BFDAB-56A7-4B99-8602-4A9F24FB13E1}" srcOrd="1" destOrd="0" presId="urn:microsoft.com/office/officeart/2005/8/layout/list1"/>
    <dgm:cxn modelId="{E0EDDC33-A424-4BE7-8EB9-3B9EE794F257}" type="presOf" srcId="{F3FDBBD0-107B-4A39-B721-D066D260C8BA}" destId="{84CFECBB-BCC2-4A8C-8612-CE911B9B83F4}" srcOrd="0" destOrd="0" presId="urn:microsoft.com/office/officeart/2005/8/layout/list1"/>
    <dgm:cxn modelId="{897AC026-77FF-464E-8A84-688ACEC10827}" srcId="{A134B303-E526-41F9-B250-FFE326A9BD1E}" destId="{E1EDB549-33EB-41DE-BD08-AD18CF6EB792}" srcOrd="1" destOrd="0" parTransId="{43424D5A-7D66-4580-BE17-11598A097767}" sibTransId="{5476103C-9068-49BA-A74E-9F6422C0C114}"/>
    <dgm:cxn modelId="{2D31E29B-289E-4FE4-A84A-B88462767571}" type="presOf" srcId="{FE316202-30E7-4FDE-918F-3E16D107E388}" destId="{67C55FD1-2570-4BC1-80F9-9D2CCA535984}" srcOrd="0" destOrd="0" presId="urn:microsoft.com/office/officeart/2005/8/layout/list1"/>
    <dgm:cxn modelId="{1CCE9DDF-E96A-48E5-B389-D6287288D6E4}" type="presOf" srcId="{E1EDB549-33EB-41DE-BD08-AD18CF6EB792}" destId="{A046689B-1667-47A1-8FC6-AC8CE77D6CD3}" srcOrd="1" destOrd="0" presId="urn:microsoft.com/office/officeart/2005/8/layout/list1"/>
    <dgm:cxn modelId="{17C26E79-DC32-4D4C-9659-0764E78DD167}" srcId="{CF971A2E-8C04-41E4-9228-ADC08FB91DE7}" destId="{F21CD650-9B52-4831-9DA9-5519DB106AB1}" srcOrd="0" destOrd="0" parTransId="{65E71C06-592E-42BE-B981-A110AB3FCAE6}" sibTransId="{47FADACE-A9C8-4CFE-81AC-6D6E7E332E0F}"/>
    <dgm:cxn modelId="{BAACA56F-46C3-4F96-81BF-0E88A695FCB3}" type="presOf" srcId="{E1EDB549-33EB-41DE-BD08-AD18CF6EB792}" destId="{6AE2A1C4-2E8B-4C58-ADA6-FA4013E4A403}" srcOrd="0" destOrd="0" presId="urn:microsoft.com/office/officeart/2005/8/layout/list1"/>
    <dgm:cxn modelId="{BB60EBE6-801E-44C8-9A1C-C0A400FF8DB1}" srcId="{A134B303-E526-41F9-B250-FFE326A9BD1E}" destId="{7B2FCEBE-E3AA-4948-AF29-937DC4590161}" srcOrd="4" destOrd="0" parTransId="{499ED00D-3478-47F9-B259-471EF23064F0}" sibTransId="{1E9AE699-3743-4780-B66C-EF3E4DE89AB5}"/>
    <dgm:cxn modelId="{23768D2F-DF92-49DF-9DD0-7D94D96587CD}" type="presOf" srcId="{B027F422-5834-4D16-A673-2C19ACB88435}" destId="{6FA159B3-7967-4B99-8720-84DE3E7835EC}" srcOrd="0" destOrd="0" presId="urn:microsoft.com/office/officeart/2005/8/layout/list1"/>
    <dgm:cxn modelId="{959096E4-1EFE-4CFA-9FCA-B9C22EB3A098}" srcId="{A134B303-E526-41F9-B250-FFE326A9BD1E}" destId="{B027F422-5834-4D16-A673-2C19ACB88435}" srcOrd="3" destOrd="0" parTransId="{F4F5F12B-8769-4639-A161-20D9DD31C646}" sibTransId="{B01B0643-A261-47B2-847F-2D0E042A8033}"/>
    <dgm:cxn modelId="{4A73F487-6F75-494E-8571-F029816D5963}" type="presOf" srcId="{B027F422-5834-4D16-A673-2C19ACB88435}" destId="{9F2AEDE0-ACE1-44AB-8FC8-87D8CAE4C3DB}" srcOrd="1" destOrd="0" presId="urn:microsoft.com/office/officeart/2005/8/layout/list1"/>
    <dgm:cxn modelId="{449E8873-17A3-467B-A8A1-21F31950EC1F}" type="presOf" srcId="{7B2FCEBE-E3AA-4948-AF29-937DC4590161}" destId="{40F0B274-7527-4431-9DBB-5D2BC58F64E6}" srcOrd="0" destOrd="0" presId="urn:microsoft.com/office/officeart/2005/8/layout/list1"/>
    <dgm:cxn modelId="{B286E35D-1325-4B8B-B80E-C5E15F1B1FB7}" srcId="{B027F422-5834-4D16-A673-2C19ACB88435}" destId="{FE316202-30E7-4FDE-918F-3E16D107E388}" srcOrd="0" destOrd="0" parTransId="{1B95BE61-7FBA-4270-A271-5B67E23A09FD}" sibTransId="{06D4B655-DB78-4BCD-B1A9-7CB4817F6953}"/>
    <dgm:cxn modelId="{F12B5A9A-035E-494C-85B6-4384BA43E16C}" type="presOf" srcId="{BCA35ADE-0EA1-4A6D-9F8E-061441517E64}" destId="{72E936ED-2E80-4C23-8288-E093D998BFFC}" srcOrd="0" destOrd="0" presId="urn:microsoft.com/office/officeart/2005/8/layout/list1"/>
    <dgm:cxn modelId="{2C8228D5-A213-4FC6-9F0C-06C5AC01BD10}" srcId="{F3FDBBD0-107B-4A39-B721-D066D260C8BA}" destId="{BCA35ADE-0EA1-4A6D-9F8E-061441517E64}" srcOrd="0" destOrd="0" parTransId="{8D082E96-FF11-497C-9FC1-C944AA0D3F61}" sibTransId="{51F6907A-403D-4662-A3AD-20E184CD4C6F}"/>
    <dgm:cxn modelId="{1AC6907B-0506-4D8E-8182-0CB56B683EF4}" srcId="{A134B303-E526-41F9-B250-FFE326A9BD1E}" destId="{F3FDBBD0-107B-4A39-B721-D066D260C8BA}" srcOrd="0" destOrd="0" parTransId="{5A5C1F2C-DD4E-40E4-A156-356D76BB5159}" sibTransId="{3D9930FF-DC85-4C76-84FC-A34C0737C5AD}"/>
    <dgm:cxn modelId="{FFF3AD15-487B-49BA-9032-11A884435623}" srcId="{E1EDB549-33EB-41DE-BD08-AD18CF6EB792}" destId="{62C9A960-08C6-437C-A9AF-7DCA9B382092}" srcOrd="0" destOrd="0" parTransId="{EACF8CEA-24C2-4D15-8438-02AB78149A1B}" sibTransId="{9274E6D9-3533-40D6-996C-9C6748C5809B}"/>
    <dgm:cxn modelId="{7C54CFD0-9A57-42AE-A4B6-5AA379DDFA80}" type="presOf" srcId="{256A7B79-6E74-4F91-A283-F25C592FECCA}" destId="{A15C8BB8-4B76-4D70-98B6-36D058911949}" srcOrd="0" destOrd="0" presId="urn:microsoft.com/office/officeart/2005/8/layout/list1"/>
    <dgm:cxn modelId="{1919A81E-BCC2-4CB2-9D1E-8136AA608226}" type="presOf" srcId="{7B2FCEBE-E3AA-4948-AF29-937DC4590161}" destId="{0B9D3158-269D-4AD1-B0A6-0F33B239E3C9}" srcOrd="1" destOrd="0" presId="urn:microsoft.com/office/officeart/2005/8/layout/list1"/>
    <dgm:cxn modelId="{98182FED-B7CD-4E1A-A705-6961D6FB620C}" type="presOf" srcId="{F3FDBBD0-107B-4A39-B721-D066D260C8BA}" destId="{61CAA2F2-FE39-43B7-AD46-3E12BA66F582}" srcOrd="1" destOrd="0" presId="urn:microsoft.com/office/officeart/2005/8/layout/list1"/>
    <dgm:cxn modelId="{389AE95C-0CBD-4C47-8B5D-FA78965FDDCB}" type="presOf" srcId="{F21CD650-9B52-4831-9DA9-5519DB106AB1}" destId="{2FDF8ABE-7B9F-452E-B8F3-F2A6CCF850F1}" srcOrd="0" destOrd="0" presId="urn:microsoft.com/office/officeart/2005/8/layout/list1"/>
    <dgm:cxn modelId="{6686365D-5607-45F1-B7A8-1181C736ECBC}" srcId="{A134B303-E526-41F9-B250-FFE326A9BD1E}" destId="{CF971A2E-8C04-41E4-9228-ADC08FB91DE7}" srcOrd="2" destOrd="0" parTransId="{6F34695A-CDF8-4E3F-8617-4E62D753A249}" sibTransId="{0733D6B3-158E-4FB7-B075-9B62B738676A}"/>
    <dgm:cxn modelId="{C5919BC9-8FAB-4A1A-911A-659BEB087D1B}" type="presOf" srcId="{62C9A960-08C6-437C-A9AF-7DCA9B382092}" destId="{24B173B3-AAB9-45B8-872C-B789B679372B}" srcOrd="0" destOrd="0" presId="urn:microsoft.com/office/officeart/2005/8/layout/list1"/>
    <dgm:cxn modelId="{63EA326D-3A57-4DE0-9728-5F127DD7F2E7}" type="presOf" srcId="{CF971A2E-8C04-41E4-9228-ADC08FB91DE7}" destId="{1A5BDA6E-7644-4CDD-BA49-BE189F6C509B}" srcOrd="0" destOrd="0" presId="urn:microsoft.com/office/officeart/2005/8/layout/list1"/>
    <dgm:cxn modelId="{040378D4-71CB-4D5A-B192-4D6E54EF0402}" srcId="{7B2FCEBE-E3AA-4948-AF29-937DC4590161}" destId="{256A7B79-6E74-4F91-A283-F25C592FECCA}" srcOrd="0" destOrd="0" parTransId="{CFC69195-5F3C-46F6-8355-AAD4FBE40693}" sibTransId="{A0C6892D-5231-42AF-ADCD-D53469B5B8D1}"/>
    <dgm:cxn modelId="{0707695A-552E-4683-A135-6867C0FA5D26}" type="presParOf" srcId="{F635083C-E0CE-4665-BF4E-18EE6E7D6800}" destId="{E9F281F7-CE4D-4AC0-94CB-542362E46087}" srcOrd="0" destOrd="0" presId="urn:microsoft.com/office/officeart/2005/8/layout/list1"/>
    <dgm:cxn modelId="{5F852AF3-7B28-491F-AAB1-95B34BE1713F}" type="presParOf" srcId="{E9F281F7-CE4D-4AC0-94CB-542362E46087}" destId="{84CFECBB-BCC2-4A8C-8612-CE911B9B83F4}" srcOrd="0" destOrd="0" presId="urn:microsoft.com/office/officeart/2005/8/layout/list1"/>
    <dgm:cxn modelId="{61216507-7303-494D-8692-35D2784A3309}" type="presParOf" srcId="{E9F281F7-CE4D-4AC0-94CB-542362E46087}" destId="{61CAA2F2-FE39-43B7-AD46-3E12BA66F582}" srcOrd="1" destOrd="0" presId="urn:microsoft.com/office/officeart/2005/8/layout/list1"/>
    <dgm:cxn modelId="{5D739CC1-CA4A-4306-8709-757F4101C943}" type="presParOf" srcId="{F635083C-E0CE-4665-BF4E-18EE6E7D6800}" destId="{74654B4F-555F-4D06-BD4E-8A52450A9CC9}" srcOrd="1" destOrd="0" presId="urn:microsoft.com/office/officeart/2005/8/layout/list1"/>
    <dgm:cxn modelId="{C6F20317-0E1B-4BEB-B59A-FCC75445210A}" type="presParOf" srcId="{F635083C-E0CE-4665-BF4E-18EE6E7D6800}" destId="{72E936ED-2E80-4C23-8288-E093D998BFFC}" srcOrd="2" destOrd="0" presId="urn:microsoft.com/office/officeart/2005/8/layout/list1"/>
    <dgm:cxn modelId="{C2D52E71-C389-47DD-B247-07DA8052D33E}" type="presParOf" srcId="{F635083C-E0CE-4665-BF4E-18EE6E7D6800}" destId="{811C572F-BE0D-482F-BC5F-C49B5303A5ED}" srcOrd="3" destOrd="0" presId="urn:microsoft.com/office/officeart/2005/8/layout/list1"/>
    <dgm:cxn modelId="{48A83285-2FE4-4407-8D4E-69D4570047D3}" type="presParOf" srcId="{F635083C-E0CE-4665-BF4E-18EE6E7D6800}" destId="{60DC7642-A4FA-4CC5-BD2B-E452E56A3DBA}" srcOrd="4" destOrd="0" presId="urn:microsoft.com/office/officeart/2005/8/layout/list1"/>
    <dgm:cxn modelId="{66413A30-0DEE-4BB7-A903-5AD5DF0FF158}" type="presParOf" srcId="{60DC7642-A4FA-4CC5-BD2B-E452E56A3DBA}" destId="{6AE2A1C4-2E8B-4C58-ADA6-FA4013E4A403}" srcOrd="0" destOrd="0" presId="urn:microsoft.com/office/officeart/2005/8/layout/list1"/>
    <dgm:cxn modelId="{F18BDA52-0C80-40D2-A589-B76D2B12BCD4}" type="presParOf" srcId="{60DC7642-A4FA-4CC5-BD2B-E452E56A3DBA}" destId="{A046689B-1667-47A1-8FC6-AC8CE77D6CD3}" srcOrd="1" destOrd="0" presId="urn:microsoft.com/office/officeart/2005/8/layout/list1"/>
    <dgm:cxn modelId="{7687C848-4B67-4D49-B236-7354D9493D85}" type="presParOf" srcId="{F635083C-E0CE-4665-BF4E-18EE6E7D6800}" destId="{60592909-0DEB-44D7-A09B-9C79EE699664}" srcOrd="5" destOrd="0" presId="urn:microsoft.com/office/officeart/2005/8/layout/list1"/>
    <dgm:cxn modelId="{FAEE26FB-04D3-4707-B144-A4DEAF3DC05D}" type="presParOf" srcId="{F635083C-E0CE-4665-BF4E-18EE6E7D6800}" destId="{24B173B3-AAB9-45B8-872C-B789B679372B}" srcOrd="6" destOrd="0" presId="urn:microsoft.com/office/officeart/2005/8/layout/list1"/>
    <dgm:cxn modelId="{40483C3F-2CF7-4B50-8905-81F0C0FC5C19}" type="presParOf" srcId="{F635083C-E0CE-4665-BF4E-18EE6E7D6800}" destId="{5DD4F7A1-13A1-49A3-9D46-F98DA148354C}" srcOrd="7" destOrd="0" presId="urn:microsoft.com/office/officeart/2005/8/layout/list1"/>
    <dgm:cxn modelId="{23F35F0A-3242-4990-A12E-7164F70DC229}" type="presParOf" srcId="{F635083C-E0CE-4665-BF4E-18EE6E7D6800}" destId="{FA26446F-215B-4D23-9C57-CA3A5E47DB2E}" srcOrd="8" destOrd="0" presId="urn:microsoft.com/office/officeart/2005/8/layout/list1"/>
    <dgm:cxn modelId="{928F05DA-B4D2-4607-A11B-10BDDB0022D8}" type="presParOf" srcId="{FA26446F-215B-4D23-9C57-CA3A5E47DB2E}" destId="{1A5BDA6E-7644-4CDD-BA49-BE189F6C509B}" srcOrd="0" destOrd="0" presId="urn:microsoft.com/office/officeart/2005/8/layout/list1"/>
    <dgm:cxn modelId="{A063F7E0-EBA7-4ED5-BF01-3F4335F80822}" type="presParOf" srcId="{FA26446F-215B-4D23-9C57-CA3A5E47DB2E}" destId="{1A7BFDAB-56A7-4B99-8602-4A9F24FB13E1}" srcOrd="1" destOrd="0" presId="urn:microsoft.com/office/officeart/2005/8/layout/list1"/>
    <dgm:cxn modelId="{267048CC-0DB4-45CA-AB71-832F313A47A9}" type="presParOf" srcId="{F635083C-E0CE-4665-BF4E-18EE6E7D6800}" destId="{B53BB531-CEE7-4F07-B4A4-A689DBE90BB3}" srcOrd="9" destOrd="0" presId="urn:microsoft.com/office/officeart/2005/8/layout/list1"/>
    <dgm:cxn modelId="{B34379D9-FCB6-41B8-811E-2E29B62BB293}" type="presParOf" srcId="{F635083C-E0CE-4665-BF4E-18EE6E7D6800}" destId="{2FDF8ABE-7B9F-452E-B8F3-F2A6CCF850F1}" srcOrd="10" destOrd="0" presId="urn:microsoft.com/office/officeart/2005/8/layout/list1"/>
    <dgm:cxn modelId="{CBB76876-EB73-4E2B-B0E7-8B5D50FAAB90}" type="presParOf" srcId="{F635083C-E0CE-4665-BF4E-18EE6E7D6800}" destId="{882535C1-E32D-41A2-AD21-5B845C5A0BB4}" srcOrd="11" destOrd="0" presId="urn:microsoft.com/office/officeart/2005/8/layout/list1"/>
    <dgm:cxn modelId="{C76F644A-5674-4049-B7AC-859987FADF00}" type="presParOf" srcId="{F635083C-E0CE-4665-BF4E-18EE6E7D6800}" destId="{5981D261-0A61-4B2B-9082-9C816A2F9DF6}" srcOrd="12" destOrd="0" presId="urn:microsoft.com/office/officeart/2005/8/layout/list1"/>
    <dgm:cxn modelId="{2C645496-372F-4A09-A144-4D8B5B308559}" type="presParOf" srcId="{5981D261-0A61-4B2B-9082-9C816A2F9DF6}" destId="{6FA159B3-7967-4B99-8720-84DE3E7835EC}" srcOrd="0" destOrd="0" presId="urn:microsoft.com/office/officeart/2005/8/layout/list1"/>
    <dgm:cxn modelId="{F6F0C275-0D45-411D-AF63-371FDB6D27DC}" type="presParOf" srcId="{5981D261-0A61-4B2B-9082-9C816A2F9DF6}" destId="{9F2AEDE0-ACE1-44AB-8FC8-87D8CAE4C3DB}" srcOrd="1" destOrd="0" presId="urn:microsoft.com/office/officeart/2005/8/layout/list1"/>
    <dgm:cxn modelId="{57099341-0381-4BCA-B894-F4C9BAEA06BD}" type="presParOf" srcId="{F635083C-E0CE-4665-BF4E-18EE6E7D6800}" destId="{06734F35-96D3-4146-BAA6-77D51BA383F6}" srcOrd="13" destOrd="0" presId="urn:microsoft.com/office/officeart/2005/8/layout/list1"/>
    <dgm:cxn modelId="{AB357308-0AC0-46E5-AD56-1EA67B4518F8}" type="presParOf" srcId="{F635083C-E0CE-4665-BF4E-18EE6E7D6800}" destId="{67C55FD1-2570-4BC1-80F9-9D2CCA535984}" srcOrd="14" destOrd="0" presId="urn:microsoft.com/office/officeart/2005/8/layout/list1"/>
    <dgm:cxn modelId="{DB2FA6FA-5597-481C-B022-BFFFC4C17DD0}" type="presParOf" srcId="{F635083C-E0CE-4665-BF4E-18EE6E7D6800}" destId="{7295F22C-4C07-493A-9CCA-CB54736945CE}" srcOrd="15" destOrd="0" presId="urn:microsoft.com/office/officeart/2005/8/layout/list1"/>
    <dgm:cxn modelId="{81184F28-6315-4A55-99BC-2006E9A720C3}" type="presParOf" srcId="{F635083C-E0CE-4665-BF4E-18EE6E7D6800}" destId="{BDB279B2-6AF4-4E63-8FC3-8342208D09D1}" srcOrd="16" destOrd="0" presId="urn:microsoft.com/office/officeart/2005/8/layout/list1"/>
    <dgm:cxn modelId="{4E7EB29C-404D-42C5-B0DD-DC490C1BD904}" type="presParOf" srcId="{BDB279B2-6AF4-4E63-8FC3-8342208D09D1}" destId="{40F0B274-7527-4431-9DBB-5D2BC58F64E6}" srcOrd="0" destOrd="0" presId="urn:microsoft.com/office/officeart/2005/8/layout/list1"/>
    <dgm:cxn modelId="{C2944602-9DE0-4126-8903-7309C4044549}" type="presParOf" srcId="{BDB279B2-6AF4-4E63-8FC3-8342208D09D1}" destId="{0B9D3158-269D-4AD1-B0A6-0F33B239E3C9}" srcOrd="1" destOrd="0" presId="urn:microsoft.com/office/officeart/2005/8/layout/list1"/>
    <dgm:cxn modelId="{DD2B851E-D3DF-44F3-A289-5BBC9DF1E07C}" type="presParOf" srcId="{F635083C-E0CE-4665-BF4E-18EE6E7D6800}" destId="{F1DAFE1E-349C-46AE-82BA-C17A053E6DEC}" srcOrd="17" destOrd="0" presId="urn:microsoft.com/office/officeart/2005/8/layout/list1"/>
    <dgm:cxn modelId="{BA5DFB21-8178-4AA5-A652-45E02F28364C}" type="presParOf" srcId="{F635083C-E0CE-4665-BF4E-18EE6E7D6800}" destId="{A15C8BB8-4B76-4D70-98B6-36D058911949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A96B913-2B7B-459C-8846-1AA56A256F34}" type="doc">
      <dgm:prSet loTypeId="urn:microsoft.com/office/officeart/2005/8/layout/pList2#1" loCatId="list" qsTypeId="urn:microsoft.com/office/officeart/2005/8/quickstyle/simple2" qsCatId="simple" csTypeId="urn:microsoft.com/office/officeart/2005/8/colors/accent4_1" csCatId="accent4" phldr="1"/>
      <dgm:spPr/>
    </dgm:pt>
    <dgm:pt modelId="{5D0F865F-2D76-453D-9F65-AEFBA6110559}">
      <dgm:prSet phldrT="[Text]" custT="1"/>
      <dgm:spPr/>
      <dgm:t>
        <a:bodyPr/>
        <a:lstStyle/>
        <a:p>
          <a:pPr algn="l"/>
          <a:r>
            <a:rPr lang="en-US" sz="2200" u="sng" dirty="0" smtClean="0">
              <a:solidFill>
                <a:srgbClr val="0000FF"/>
              </a:solidFill>
            </a:rPr>
            <a:t>View and Book Flights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Update Flights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Cancel Flights</a:t>
          </a:r>
          <a:endParaRPr lang="en-US" sz="2200" u="sng" dirty="0">
            <a:solidFill>
              <a:srgbClr val="0000FF"/>
            </a:solidFill>
          </a:endParaRPr>
        </a:p>
      </dgm:t>
    </dgm:pt>
    <dgm:pt modelId="{3E5F33EF-0A64-471F-990E-3B9C0CC258E4}" type="parTrans" cxnId="{8764B44B-A087-4071-BE7C-82E23360B8C2}">
      <dgm:prSet/>
      <dgm:spPr/>
      <dgm:t>
        <a:bodyPr/>
        <a:lstStyle/>
        <a:p>
          <a:endParaRPr lang="en-US"/>
        </a:p>
      </dgm:t>
    </dgm:pt>
    <dgm:pt modelId="{F9288EFF-4683-4A72-8FBB-42E357814108}" type="sibTrans" cxnId="{8764B44B-A087-4071-BE7C-82E23360B8C2}">
      <dgm:prSet/>
      <dgm:spPr/>
      <dgm:t>
        <a:bodyPr/>
        <a:lstStyle/>
        <a:p>
          <a:endParaRPr lang="en-US"/>
        </a:p>
      </dgm:t>
    </dgm:pt>
    <dgm:pt modelId="{52D58BC3-A305-46EE-A6E2-44DA4E2AE5A5}">
      <dgm:prSet phldrT="[Text]" custT="1"/>
      <dgm:spPr/>
      <dgm:t>
        <a:bodyPr/>
        <a:lstStyle/>
        <a:p>
          <a:pPr algn="l"/>
          <a:r>
            <a:rPr lang="en-US" sz="2200" u="sng" dirty="0" smtClean="0">
              <a:solidFill>
                <a:srgbClr val="0000FF"/>
              </a:solidFill>
            </a:rPr>
            <a:t>Executive Login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View Flights based on Period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View Flights based on Place</a:t>
          </a:r>
          <a:endParaRPr lang="en-US" sz="2200" dirty="0"/>
        </a:p>
      </dgm:t>
    </dgm:pt>
    <dgm:pt modelId="{7FEFB521-61A6-4C36-9675-00EAC6FF27E0}" type="parTrans" cxnId="{66C5769A-9844-47D7-9924-861A2CF24290}">
      <dgm:prSet/>
      <dgm:spPr/>
      <dgm:t>
        <a:bodyPr/>
        <a:lstStyle/>
        <a:p>
          <a:endParaRPr lang="en-US"/>
        </a:p>
      </dgm:t>
    </dgm:pt>
    <dgm:pt modelId="{2620CD36-5B65-48DB-9A26-47AC613DEEA8}" type="sibTrans" cxnId="{66C5769A-9844-47D7-9924-861A2CF24290}">
      <dgm:prSet/>
      <dgm:spPr/>
      <dgm:t>
        <a:bodyPr/>
        <a:lstStyle/>
        <a:p>
          <a:endParaRPr lang="en-US"/>
        </a:p>
      </dgm:t>
    </dgm:pt>
    <dgm:pt modelId="{ECA49C4A-52EE-412F-8A82-1A2313B11EC0}">
      <dgm:prSet phldrT="[Text]" custT="1"/>
      <dgm:spPr/>
      <dgm:t>
        <a:bodyPr/>
        <a:lstStyle/>
        <a:p>
          <a:pPr algn="l"/>
          <a:r>
            <a:rPr lang="en-US" sz="2200" u="sng" dirty="0" smtClean="0">
              <a:solidFill>
                <a:srgbClr val="0000FF"/>
              </a:solidFill>
            </a:rPr>
            <a:t>Admin Login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Update Flight Schedules and Flight info</a:t>
          </a:r>
        </a:p>
        <a:p>
          <a:pPr algn="l"/>
          <a:r>
            <a:rPr lang="en-US" sz="2200" u="sng" dirty="0" smtClean="0">
              <a:solidFill>
                <a:srgbClr val="0000FF"/>
              </a:solidFill>
            </a:rPr>
            <a:t>Generate Various Reports </a:t>
          </a:r>
        </a:p>
        <a:p>
          <a:pPr algn="ctr"/>
          <a:endParaRPr lang="en-US" sz="2200" dirty="0"/>
        </a:p>
      </dgm:t>
    </dgm:pt>
    <dgm:pt modelId="{12357946-5779-4802-9167-E4F834543C05}" type="parTrans" cxnId="{73CE05A8-A297-489B-A91D-BDCA09C4AE00}">
      <dgm:prSet/>
      <dgm:spPr/>
      <dgm:t>
        <a:bodyPr/>
        <a:lstStyle/>
        <a:p>
          <a:endParaRPr lang="en-US"/>
        </a:p>
      </dgm:t>
    </dgm:pt>
    <dgm:pt modelId="{3597D21C-D23D-47C4-AFDF-4D4DAAEFDEAD}" type="sibTrans" cxnId="{73CE05A8-A297-489B-A91D-BDCA09C4AE00}">
      <dgm:prSet/>
      <dgm:spPr/>
      <dgm:t>
        <a:bodyPr/>
        <a:lstStyle/>
        <a:p>
          <a:endParaRPr lang="en-US"/>
        </a:p>
      </dgm:t>
    </dgm:pt>
    <dgm:pt modelId="{C0CE7BF2-0594-477F-93D5-0739EB970B21}" type="pres">
      <dgm:prSet presAssocID="{AA96B913-2B7B-459C-8846-1AA56A256F34}" presName="Name0" presStyleCnt="0">
        <dgm:presLayoutVars>
          <dgm:dir/>
          <dgm:resizeHandles val="exact"/>
        </dgm:presLayoutVars>
      </dgm:prSet>
      <dgm:spPr/>
    </dgm:pt>
    <dgm:pt modelId="{D7B091FC-449E-4E23-AD4F-32F8682613A2}" type="pres">
      <dgm:prSet presAssocID="{AA96B913-2B7B-459C-8846-1AA56A256F34}" presName="bkgdShp" presStyleLbl="alignAccFollowNode1" presStyleIdx="0" presStyleCnt="1"/>
      <dgm:spPr/>
    </dgm:pt>
    <dgm:pt modelId="{3A10A943-4629-4284-9AAE-A7A93000A5F6}" type="pres">
      <dgm:prSet presAssocID="{AA96B913-2B7B-459C-8846-1AA56A256F34}" presName="linComp" presStyleCnt="0"/>
      <dgm:spPr/>
    </dgm:pt>
    <dgm:pt modelId="{E0F6E8E8-4DDD-4219-8613-CBBCE4A3A9EF}" type="pres">
      <dgm:prSet presAssocID="{5D0F865F-2D76-453D-9F65-AEFBA6110559}" presName="compNode" presStyleCnt="0"/>
      <dgm:spPr/>
    </dgm:pt>
    <dgm:pt modelId="{0164D2AB-25D0-4E1D-AC08-EFEE6C03A650}" type="pres">
      <dgm:prSet presAssocID="{5D0F865F-2D76-453D-9F65-AEFBA6110559}" presName="node" presStyleLbl="node1" presStyleIdx="0" presStyleCnt="3" custScaleY="944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13620B-08D1-482A-9853-D2B0EE421FEF}" type="pres">
      <dgm:prSet presAssocID="{5D0F865F-2D76-453D-9F65-AEFBA6110559}" presName="invisiNode" presStyleLbl="node1" presStyleIdx="0" presStyleCnt="3"/>
      <dgm:spPr/>
    </dgm:pt>
    <dgm:pt modelId="{DB2F3CE9-EA4B-49E1-8235-07A23D535239}" type="pres">
      <dgm:prSet presAssocID="{5D0F865F-2D76-453D-9F65-AEFBA6110559}" presName="imagNod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7000" b="-17000"/>
          </a:stretch>
        </a:blipFill>
      </dgm:spPr>
    </dgm:pt>
    <dgm:pt modelId="{7626D53B-A3BC-4955-82B4-BAF282E805B3}" type="pres">
      <dgm:prSet presAssocID="{F9288EFF-4683-4A72-8FBB-42E35781410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9C7EB514-934F-4DA9-9A3E-BC956AC398B8}" type="pres">
      <dgm:prSet presAssocID="{52D58BC3-A305-46EE-A6E2-44DA4E2AE5A5}" presName="compNode" presStyleCnt="0"/>
      <dgm:spPr/>
    </dgm:pt>
    <dgm:pt modelId="{FCC63791-A81D-4163-AF62-C7250AF16B6A}" type="pres">
      <dgm:prSet presAssocID="{52D58BC3-A305-46EE-A6E2-44DA4E2AE5A5}" presName="node" presStyleLbl="node1" presStyleIdx="1" presStyleCnt="3" custScaleY="944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F31582-C932-4C64-AB62-689ED34572D8}" type="pres">
      <dgm:prSet presAssocID="{52D58BC3-A305-46EE-A6E2-44DA4E2AE5A5}" presName="invisiNode" presStyleLbl="node1" presStyleIdx="1" presStyleCnt="3"/>
      <dgm:spPr/>
    </dgm:pt>
    <dgm:pt modelId="{9924DA16-1332-409E-898D-BEDF058BAE03}" type="pres">
      <dgm:prSet presAssocID="{52D58BC3-A305-46EE-A6E2-44DA4E2AE5A5}" presName="imagNode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000" b="-1000"/>
          </a:stretch>
        </a:blipFill>
      </dgm:spPr>
    </dgm:pt>
    <dgm:pt modelId="{8E98E87A-F65F-407F-9BFC-52CD56125ACE}" type="pres">
      <dgm:prSet presAssocID="{2620CD36-5B65-48DB-9A26-47AC613DEEA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7522F2F-AC78-4EA4-9C4D-DE6E8BF51128}" type="pres">
      <dgm:prSet presAssocID="{ECA49C4A-52EE-412F-8A82-1A2313B11EC0}" presName="compNode" presStyleCnt="0"/>
      <dgm:spPr/>
    </dgm:pt>
    <dgm:pt modelId="{E694F1F1-A229-4202-846E-D19EFFF0EB0D}" type="pres">
      <dgm:prSet presAssocID="{ECA49C4A-52EE-412F-8A82-1A2313B11EC0}" presName="node" presStyleLbl="node1" presStyleIdx="2" presStyleCnt="3" custScaleY="954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A84D57-D880-4828-930D-A024A64D10AF}" type="pres">
      <dgm:prSet presAssocID="{ECA49C4A-52EE-412F-8A82-1A2313B11EC0}" presName="invisiNode" presStyleLbl="node1" presStyleIdx="2" presStyleCnt="3"/>
      <dgm:spPr/>
    </dgm:pt>
    <dgm:pt modelId="{75212FFE-6D3D-41A5-A15C-16AF40298BC2}" type="pres">
      <dgm:prSet presAssocID="{ECA49C4A-52EE-412F-8A82-1A2313B11EC0}" presName="imagNode" presStyleLbl="fgImgPlace1" presStyleIdx="2" presStyleCnt="3" custScaleY="10179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7000" b="-17000"/>
          </a:stretch>
        </a:blipFill>
      </dgm:spPr>
    </dgm:pt>
  </dgm:ptLst>
  <dgm:cxnLst>
    <dgm:cxn modelId="{CC6DD365-20EB-466F-BB07-B4E1B342B127}" type="presOf" srcId="{F9288EFF-4683-4A72-8FBB-42E357814108}" destId="{7626D53B-A3BC-4955-82B4-BAF282E805B3}" srcOrd="0" destOrd="0" presId="urn:microsoft.com/office/officeart/2005/8/layout/pList2#1"/>
    <dgm:cxn modelId="{A32B4D17-3250-4AC7-9B26-0B958327DD1D}" type="presOf" srcId="{52D58BC3-A305-46EE-A6E2-44DA4E2AE5A5}" destId="{FCC63791-A81D-4163-AF62-C7250AF16B6A}" srcOrd="0" destOrd="0" presId="urn:microsoft.com/office/officeart/2005/8/layout/pList2#1"/>
    <dgm:cxn modelId="{8764B44B-A087-4071-BE7C-82E23360B8C2}" srcId="{AA96B913-2B7B-459C-8846-1AA56A256F34}" destId="{5D0F865F-2D76-453D-9F65-AEFBA6110559}" srcOrd="0" destOrd="0" parTransId="{3E5F33EF-0A64-471F-990E-3B9C0CC258E4}" sibTransId="{F9288EFF-4683-4A72-8FBB-42E357814108}"/>
    <dgm:cxn modelId="{38200C3C-C832-404C-B74F-5D60C8FBF3B4}" type="presOf" srcId="{ECA49C4A-52EE-412F-8A82-1A2313B11EC0}" destId="{E694F1F1-A229-4202-846E-D19EFFF0EB0D}" srcOrd="0" destOrd="0" presId="urn:microsoft.com/office/officeart/2005/8/layout/pList2#1"/>
    <dgm:cxn modelId="{870505AC-015B-4E04-9807-8C0798EEF1E1}" type="presOf" srcId="{AA96B913-2B7B-459C-8846-1AA56A256F34}" destId="{C0CE7BF2-0594-477F-93D5-0739EB970B21}" srcOrd="0" destOrd="0" presId="urn:microsoft.com/office/officeart/2005/8/layout/pList2#1"/>
    <dgm:cxn modelId="{73CE05A8-A297-489B-A91D-BDCA09C4AE00}" srcId="{AA96B913-2B7B-459C-8846-1AA56A256F34}" destId="{ECA49C4A-52EE-412F-8A82-1A2313B11EC0}" srcOrd="2" destOrd="0" parTransId="{12357946-5779-4802-9167-E4F834543C05}" sibTransId="{3597D21C-D23D-47C4-AFDF-4D4DAAEFDEAD}"/>
    <dgm:cxn modelId="{2606F6B1-A527-487A-8B4A-D13C88465F9E}" type="presOf" srcId="{5D0F865F-2D76-453D-9F65-AEFBA6110559}" destId="{0164D2AB-25D0-4E1D-AC08-EFEE6C03A650}" srcOrd="0" destOrd="0" presId="urn:microsoft.com/office/officeart/2005/8/layout/pList2#1"/>
    <dgm:cxn modelId="{66C5769A-9844-47D7-9924-861A2CF24290}" srcId="{AA96B913-2B7B-459C-8846-1AA56A256F34}" destId="{52D58BC3-A305-46EE-A6E2-44DA4E2AE5A5}" srcOrd="1" destOrd="0" parTransId="{7FEFB521-61A6-4C36-9675-00EAC6FF27E0}" sibTransId="{2620CD36-5B65-48DB-9A26-47AC613DEEA8}"/>
    <dgm:cxn modelId="{D74C3052-BD1F-47DD-ACBB-608A781AF426}" type="presOf" srcId="{2620CD36-5B65-48DB-9A26-47AC613DEEA8}" destId="{8E98E87A-F65F-407F-9BFC-52CD56125ACE}" srcOrd="0" destOrd="0" presId="urn:microsoft.com/office/officeart/2005/8/layout/pList2#1"/>
    <dgm:cxn modelId="{10539CD5-F21D-4E92-9E05-27A5638C9DB1}" type="presParOf" srcId="{C0CE7BF2-0594-477F-93D5-0739EB970B21}" destId="{D7B091FC-449E-4E23-AD4F-32F8682613A2}" srcOrd="0" destOrd="0" presId="urn:microsoft.com/office/officeart/2005/8/layout/pList2#1"/>
    <dgm:cxn modelId="{F5A40DBB-8B5A-4656-A75F-A85D96951048}" type="presParOf" srcId="{C0CE7BF2-0594-477F-93D5-0739EB970B21}" destId="{3A10A943-4629-4284-9AAE-A7A93000A5F6}" srcOrd="1" destOrd="0" presId="urn:microsoft.com/office/officeart/2005/8/layout/pList2#1"/>
    <dgm:cxn modelId="{1C056423-7DB3-4DEA-AC68-CBE918B0E35F}" type="presParOf" srcId="{3A10A943-4629-4284-9AAE-A7A93000A5F6}" destId="{E0F6E8E8-4DDD-4219-8613-CBBCE4A3A9EF}" srcOrd="0" destOrd="0" presId="urn:microsoft.com/office/officeart/2005/8/layout/pList2#1"/>
    <dgm:cxn modelId="{CA1EAE83-96BB-4337-BA79-AEDCFF4E30A0}" type="presParOf" srcId="{E0F6E8E8-4DDD-4219-8613-CBBCE4A3A9EF}" destId="{0164D2AB-25D0-4E1D-AC08-EFEE6C03A650}" srcOrd="0" destOrd="0" presId="urn:microsoft.com/office/officeart/2005/8/layout/pList2#1"/>
    <dgm:cxn modelId="{D32633B1-6452-4669-BEF3-816062DFE3F2}" type="presParOf" srcId="{E0F6E8E8-4DDD-4219-8613-CBBCE4A3A9EF}" destId="{AB13620B-08D1-482A-9853-D2B0EE421FEF}" srcOrd="1" destOrd="0" presId="urn:microsoft.com/office/officeart/2005/8/layout/pList2#1"/>
    <dgm:cxn modelId="{97DE8EEF-8C4F-4BCA-8B18-576281B18940}" type="presParOf" srcId="{E0F6E8E8-4DDD-4219-8613-CBBCE4A3A9EF}" destId="{DB2F3CE9-EA4B-49E1-8235-07A23D535239}" srcOrd="2" destOrd="0" presId="urn:microsoft.com/office/officeart/2005/8/layout/pList2#1"/>
    <dgm:cxn modelId="{B6CCD05B-503E-4E09-8841-F90754CDC76A}" type="presParOf" srcId="{3A10A943-4629-4284-9AAE-A7A93000A5F6}" destId="{7626D53B-A3BC-4955-82B4-BAF282E805B3}" srcOrd="1" destOrd="0" presId="urn:microsoft.com/office/officeart/2005/8/layout/pList2#1"/>
    <dgm:cxn modelId="{40E2C3CB-AF54-4CBC-A0D1-C726D405D222}" type="presParOf" srcId="{3A10A943-4629-4284-9AAE-A7A93000A5F6}" destId="{9C7EB514-934F-4DA9-9A3E-BC956AC398B8}" srcOrd="2" destOrd="0" presId="urn:microsoft.com/office/officeart/2005/8/layout/pList2#1"/>
    <dgm:cxn modelId="{90C03D8F-F315-41BF-ADA5-46C69AFBE670}" type="presParOf" srcId="{9C7EB514-934F-4DA9-9A3E-BC956AC398B8}" destId="{FCC63791-A81D-4163-AF62-C7250AF16B6A}" srcOrd="0" destOrd="0" presId="urn:microsoft.com/office/officeart/2005/8/layout/pList2#1"/>
    <dgm:cxn modelId="{1A0312D3-4174-46C6-9F59-3B045B76584A}" type="presParOf" srcId="{9C7EB514-934F-4DA9-9A3E-BC956AC398B8}" destId="{81F31582-C932-4C64-AB62-689ED34572D8}" srcOrd="1" destOrd="0" presId="urn:microsoft.com/office/officeart/2005/8/layout/pList2#1"/>
    <dgm:cxn modelId="{A797D9F0-150A-407E-8FED-10EC0062C714}" type="presParOf" srcId="{9C7EB514-934F-4DA9-9A3E-BC956AC398B8}" destId="{9924DA16-1332-409E-898D-BEDF058BAE03}" srcOrd="2" destOrd="0" presId="urn:microsoft.com/office/officeart/2005/8/layout/pList2#1"/>
    <dgm:cxn modelId="{7723D39C-E8C6-448D-8456-6E9A4A1C2BA4}" type="presParOf" srcId="{3A10A943-4629-4284-9AAE-A7A93000A5F6}" destId="{8E98E87A-F65F-407F-9BFC-52CD56125ACE}" srcOrd="3" destOrd="0" presId="urn:microsoft.com/office/officeart/2005/8/layout/pList2#1"/>
    <dgm:cxn modelId="{66E9A4BE-CED0-4A97-ACE7-CBAC25F0E2F3}" type="presParOf" srcId="{3A10A943-4629-4284-9AAE-A7A93000A5F6}" destId="{E7522F2F-AC78-4EA4-9C4D-DE6E8BF51128}" srcOrd="4" destOrd="0" presId="urn:microsoft.com/office/officeart/2005/8/layout/pList2#1"/>
    <dgm:cxn modelId="{47F35B55-F144-46A3-9847-407F3EE37022}" type="presParOf" srcId="{E7522F2F-AC78-4EA4-9C4D-DE6E8BF51128}" destId="{E694F1F1-A229-4202-846E-D19EFFF0EB0D}" srcOrd="0" destOrd="0" presId="urn:microsoft.com/office/officeart/2005/8/layout/pList2#1"/>
    <dgm:cxn modelId="{51727339-A8D5-4093-BC32-DC554B52E7C6}" type="presParOf" srcId="{E7522F2F-AC78-4EA4-9C4D-DE6E8BF51128}" destId="{9FA84D57-D880-4828-930D-A024A64D10AF}" srcOrd="1" destOrd="0" presId="urn:microsoft.com/office/officeart/2005/8/layout/pList2#1"/>
    <dgm:cxn modelId="{C5500C63-C461-4059-902F-23B0822DD88A}" type="presParOf" srcId="{E7522F2F-AC78-4EA4-9C4D-DE6E8BF51128}" destId="{75212FFE-6D3D-41A5-A15C-16AF40298BC2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7A756C9-4D50-43D0-8AC6-85E0FD33C5C7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4D9B1F-9C23-433A-9E16-6594DD474616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u="none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xecutive and Admin Login</a:t>
          </a:r>
          <a:endParaRPr lang="en-US" b="1" u="none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652B1EF-6909-44E2-8FC5-5BC62738FC05}" type="parTrans" cxnId="{D60B4374-6583-468D-AB27-C6267BE0F486}">
      <dgm:prSet/>
      <dgm:spPr/>
      <dgm:t>
        <a:bodyPr/>
        <a:lstStyle/>
        <a:p>
          <a:endParaRPr lang="en-US"/>
        </a:p>
      </dgm:t>
    </dgm:pt>
    <dgm:pt modelId="{DEA26FEF-511D-44F7-A8F7-409ABC1E6099}" type="sibTrans" cxnId="{D60B4374-6583-468D-AB27-C6267BE0F486}">
      <dgm:prSet/>
      <dgm:spPr/>
      <dgm:t>
        <a:bodyPr/>
        <a:lstStyle/>
        <a:p>
          <a:endParaRPr lang="en-US"/>
        </a:p>
      </dgm:t>
    </dgm:pt>
    <dgm:pt modelId="{5F643A03-6E7A-4375-840D-B338F91C5C67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User Name is accepting Lower Boundary value</a:t>
          </a:r>
          <a:endParaRPr lang="en-US" dirty="0"/>
        </a:p>
      </dgm:t>
    </dgm:pt>
    <dgm:pt modelId="{3DDCA4DC-49A8-4B95-B2ED-41110F4C3152}" type="parTrans" cxnId="{736A05C5-2B32-43B7-8988-F5D61BF875F1}">
      <dgm:prSet/>
      <dgm:spPr/>
      <dgm:t>
        <a:bodyPr/>
        <a:lstStyle/>
        <a:p>
          <a:endParaRPr lang="en-US"/>
        </a:p>
      </dgm:t>
    </dgm:pt>
    <dgm:pt modelId="{7A9FC06B-863E-4EE6-8C80-F48C4C760EB5}" type="sibTrans" cxnId="{736A05C5-2B32-43B7-8988-F5D61BF875F1}">
      <dgm:prSet/>
      <dgm:spPr/>
      <dgm:t>
        <a:bodyPr/>
        <a:lstStyle/>
        <a:p>
          <a:endParaRPr lang="en-US"/>
        </a:p>
      </dgm:t>
    </dgm:pt>
    <dgm:pt modelId="{2EF9BEE8-8301-41C8-B4AA-3109F0B4F89C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ntact Us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4AFC656-A7E7-4D2E-91EB-849984E9FFDB}" type="parTrans" cxnId="{D1C3FB00-ACAE-4F4E-B083-7BF7051D18EA}">
      <dgm:prSet/>
      <dgm:spPr/>
      <dgm:t>
        <a:bodyPr/>
        <a:lstStyle/>
        <a:p>
          <a:endParaRPr lang="en-US"/>
        </a:p>
      </dgm:t>
    </dgm:pt>
    <dgm:pt modelId="{93BAFFEE-901C-44D9-A1E4-A238EDCB52F0}" type="sibTrans" cxnId="{D1C3FB00-ACAE-4F4E-B083-7BF7051D18EA}">
      <dgm:prSet/>
      <dgm:spPr/>
      <dgm:t>
        <a:bodyPr/>
        <a:lstStyle/>
        <a:p>
          <a:endParaRPr lang="en-US"/>
        </a:p>
      </dgm:t>
    </dgm:pt>
    <dgm:pt modelId="{286F0C1E-FE69-46D8-A21E-3C24D592051C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Email Field is Accepting Invalid Email</a:t>
          </a:r>
          <a:endParaRPr lang="en-US" dirty="0"/>
        </a:p>
      </dgm:t>
    </dgm:pt>
    <dgm:pt modelId="{97BC9C97-A473-4F17-BC2D-7E82E3891AB1}" type="parTrans" cxnId="{EB890A64-2C78-4ADE-8545-A5D2F4B03E9D}">
      <dgm:prSet/>
      <dgm:spPr/>
      <dgm:t>
        <a:bodyPr/>
        <a:lstStyle/>
        <a:p>
          <a:endParaRPr lang="en-US"/>
        </a:p>
      </dgm:t>
    </dgm:pt>
    <dgm:pt modelId="{F3360940-3140-4A9C-8665-DF2831A14E96}" type="sibTrans" cxnId="{EB890A64-2C78-4ADE-8545-A5D2F4B03E9D}">
      <dgm:prSet/>
      <dgm:spPr/>
      <dgm:t>
        <a:bodyPr/>
        <a:lstStyle/>
        <a:p>
          <a:endParaRPr lang="en-US"/>
        </a:p>
      </dgm:t>
    </dgm:pt>
    <dgm:pt modelId="{EEBD3032-19B8-46AC-BE68-F16FC3C6DD4D}">
      <dgm:prSet phldrT="[Text]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Name field is accepting Lower Boundary value</a:t>
          </a:r>
          <a:endParaRPr lang="en-US" dirty="0"/>
        </a:p>
      </dgm:t>
    </dgm:pt>
    <dgm:pt modelId="{FEF6348F-153F-4BA5-AA62-8298403FC4E5}" type="parTrans" cxnId="{0F8FD06D-9C4C-4934-9821-8620DD29F08A}">
      <dgm:prSet/>
      <dgm:spPr/>
      <dgm:t>
        <a:bodyPr/>
        <a:lstStyle/>
        <a:p>
          <a:endParaRPr lang="en-US"/>
        </a:p>
      </dgm:t>
    </dgm:pt>
    <dgm:pt modelId="{39B5348F-92BF-416B-9F9D-37BEC8319526}" type="sibTrans" cxnId="{0F8FD06D-9C4C-4934-9821-8620DD29F08A}">
      <dgm:prSet/>
      <dgm:spPr/>
      <dgm:t>
        <a:bodyPr/>
        <a:lstStyle/>
        <a:p>
          <a:endParaRPr lang="en-US"/>
        </a:p>
      </dgm:t>
    </dgm:pt>
    <dgm:pt modelId="{54B9B7C2-CDE2-4D0C-91D1-901E98E01B1D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Book Flight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A7B868C-AD7F-4DD9-9223-62DA83AB6863}" type="parTrans" cxnId="{2B0BC7CE-1AF3-4884-9C2E-E231F73483DE}">
      <dgm:prSet/>
      <dgm:spPr/>
      <dgm:t>
        <a:bodyPr/>
        <a:lstStyle/>
        <a:p>
          <a:endParaRPr lang="en-US"/>
        </a:p>
      </dgm:t>
    </dgm:pt>
    <dgm:pt modelId="{5601856E-1C49-4385-B094-3567604FFB98}" type="sibTrans" cxnId="{2B0BC7CE-1AF3-4884-9C2E-E231F73483DE}">
      <dgm:prSet/>
      <dgm:spPr/>
      <dgm:t>
        <a:bodyPr/>
        <a:lstStyle/>
        <a:p>
          <a:endParaRPr lang="en-US"/>
        </a:p>
      </dgm:t>
    </dgm:pt>
    <dgm:pt modelId="{856BFFF7-63BA-4B7C-9FBE-704EEEE863AE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Date field should be in </a:t>
          </a:r>
          <a:r>
            <a:rPr lang="en-US" dirty="0" err="1" smtClean="0"/>
            <a:t>dd</a:t>
          </a:r>
          <a:r>
            <a:rPr lang="en-US" dirty="0" smtClean="0"/>
            <a:t>/mm/</a:t>
          </a:r>
          <a:r>
            <a:rPr lang="en-US" dirty="0" err="1" smtClean="0"/>
            <a:t>yyyy</a:t>
          </a:r>
          <a:endParaRPr lang="en-US" dirty="0"/>
        </a:p>
      </dgm:t>
    </dgm:pt>
    <dgm:pt modelId="{4C3BEEE2-C8E0-4C5E-B343-ABAF5AA69357}" type="parTrans" cxnId="{6FD44145-E743-4193-9E9C-566703CF681B}">
      <dgm:prSet/>
      <dgm:spPr/>
      <dgm:t>
        <a:bodyPr/>
        <a:lstStyle/>
        <a:p>
          <a:endParaRPr lang="en-US"/>
        </a:p>
      </dgm:t>
    </dgm:pt>
    <dgm:pt modelId="{A13782B4-EAAE-46B6-9A8C-70E28141EE32}" type="sibTrans" cxnId="{6FD44145-E743-4193-9E9C-566703CF681B}">
      <dgm:prSet/>
      <dgm:spPr/>
      <dgm:t>
        <a:bodyPr/>
        <a:lstStyle/>
        <a:p>
          <a:endParaRPr lang="en-US"/>
        </a:p>
      </dgm:t>
    </dgm:pt>
    <dgm:pt modelId="{5F6BAFA2-4399-4E48-9326-D6857F8C7BAB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Date field is accepting invalid Date</a:t>
          </a:r>
          <a:endParaRPr lang="en-US" dirty="0"/>
        </a:p>
      </dgm:t>
    </dgm:pt>
    <dgm:pt modelId="{3AF1191F-E006-4432-9DCB-23EEFB036AD4}" type="parTrans" cxnId="{00D6127D-6B2D-4CA1-8614-2A42B96DB748}">
      <dgm:prSet/>
      <dgm:spPr/>
      <dgm:t>
        <a:bodyPr/>
        <a:lstStyle/>
        <a:p>
          <a:endParaRPr lang="en-IN"/>
        </a:p>
      </dgm:t>
    </dgm:pt>
    <dgm:pt modelId="{C35F13DE-495C-4F53-AA7E-B0E7D6DFBE43}" type="sibTrans" cxnId="{00D6127D-6B2D-4CA1-8614-2A42B96DB748}">
      <dgm:prSet/>
      <dgm:spPr/>
      <dgm:t>
        <a:bodyPr/>
        <a:lstStyle/>
        <a:p>
          <a:endParaRPr lang="en-IN"/>
        </a:p>
      </dgm:t>
    </dgm:pt>
    <dgm:pt modelId="{D2CD9140-27A5-41D1-BB55-C5369A4FDB70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Password field not displaying proper Error msg.</a:t>
          </a:r>
          <a:endParaRPr lang="en-US" dirty="0"/>
        </a:p>
      </dgm:t>
    </dgm:pt>
    <dgm:pt modelId="{5CC46659-E672-443D-8938-D3DA675738B3}" type="parTrans" cxnId="{9AA95406-ED06-4948-8493-67B023CC1269}">
      <dgm:prSet/>
      <dgm:spPr/>
      <dgm:t>
        <a:bodyPr/>
        <a:lstStyle/>
        <a:p>
          <a:endParaRPr lang="en-IN"/>
        </a:p>
      </dgm:t>
    </dgm:pt>
    <dgm:pt modelId="{D9DF4D3E-CB33-4A36-B4F7-4C6E3B3BFF17}" type="sibTrans" cxnId="{9AA95406-ED06-4948-8493-67B023CC1269}">
      <dgm:prSet/>
      <dgm:spPr/>
      <dgm:t>
        <a:bodyPr/>
        <a:lstStyle/>
        <a:p>
          <a:endParaRPr lang="en-IN"/>
        </a:p>
      </dgm:t>
    </dgm:pt>
    <dgm:pt modelId="{8B874071-34CC-4E80-B71E-DD0CAC41293E}" type="pres">
      <dgm:prSet presAssocID="{F7A756C9-4D50-43D0-8AC6-85E0FD33C5C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F48DFCC-E2DB-454D-8977-AD76907EE63B}" type="pres">
      <dgm:prSet presAssocID="{6F4D9B1F-9C23-433A-9E16-6594DD474616}" presName="comp" presStyleCnt="0"/>
      <dgm:spPr/>
    </dgm:pt>
    <dgm:pt modelId="{289940DD-1002-4DCB-86F6-EF1A93D4A1B9}" type="pres">
      <dgm:prSet presAssocID="{6F4D9B1F-9C23-433A-9E16-6594DD474616}" presName="box" presStyleLbl="node1" presStyleIdx="0" presStyleCnt="3"/>
      <dgm:spPr/>
      <dgm:t>
        <a:bodyPr/>
        <a:lstStyle/>
        <a:p>
          <a:endParaRPr lang="en-US"/>
        </a:p>
      </dgm:t>
    </dgm:pt>
    <dgm:pt modelId="{B9BEF37A-1894-4AF6-AC06-A1D5277040B1}" type="pres">
      <dgm:prSet presAssocID="{6F4D9B1F-9C23-433A-9E16-6594DD474616}" presName="img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79D5DAE7-AB05-45E2-A36A-1997FB96A46D}" type="pres">
      <dgm:prSet presAssocID="{6F4D9B1F-9C23-433A-9E16-6594DD47461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AE21F9-2A97-40FD-8524-2BCF6A87D5DD}" type="pres">
      <dgm:prSet presAssocID="{DEA26FEF-511D-44F7-A8F7-409ABC1E6099}" presName="spacer" presStyleCnt="0"/>
      <dgm:spPr/>
    </dgm:pt>
    <dgm:pt modelId="{62448C9F-E05D-46D0-8D08-F11EAAD477C4}" type="pres">
      <dgm:prSet presAssocID="{2EF9BEE8-8301-41C8-B4AA-3109F0B4F89C}" presName="comp" presStyleCnt="0"/>
      <dgm:spPr/>
    </dgm:pt>
    <dgm:pt modelId="{0EF583B5-4536-4FC2-9EC1-A9D0C58195F0}" type="pres">
      <dgm:prSet presAssocID="{2EF9BEE8-8301-41C8-B4AA-3109F0B4F89C}" presName="box" presStyleLbl="node1" presStyleIdx="1" presStyleCnt="3"/>
      <dgm:spPr/>
      <dgm:t>
        <a:bodyPr/>
        <a:lstStyle/>
        <a:p>
          <a:endParaRPr lang="en-US"/>
        </a:p>
      </dgm:t>
    </dgm:pt>
    <dgm:pt modelId="{E532505C-1CAB-4545-B3B3-15169A807866}" type="pres">
      <dgm:prSet presAssocID="{2EF9BEE8-8301-41C8-B4AA-3109F0B4F89C}" presName="img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F39DA724-5A66-4092-94EF-046C90BC9C6A}" type="pres">
      <dgm:prSet presAssocID="{2EF9BEE8-8301-41C8-B4AA-3109F0B4F89C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583576-4BF7-4E85-AC63-6E376CB4ECD7}" type="pres">
      <dgm:prSet presAssocID="{93BAFFEE-901C-44D9-A1E4-A238EDCB52F0}" presName="spacer" presStyleCnt="0"/>
      <dgm:spPr/>
    </dgm:pt>
    <dgm:pt modelId="{7BF5C277-43F0-4C35-A515-336EB4883EF3}" type="pres">
      <dgm:prSet presAssocID="{54B9B7C2-CDE2-4D0C-91D1-901E98E01B1D}" presName="comp" presStyleCnt="0"/>
      <dgm:spPr/>
    </dgm:pt>
    <dgm:pt modelId="{ED58855C-6AAD-43DF-AFF7-AB1B4A84D0FE}" type="pres">
      <dgm:prSet presAssocID="{54B9B7C2-CDE2-4D0C-91D1-901E98E01B1D}" presName="box" presStyleLbl="node1" presStyleIdx="2" presStyleCnt="3"/>
      <dgm:spPr/>
      <dgm:t>
        <a:bodyPr/>
        <a:lstStyle/>
        <a:p>
          <a:endParaRPr lang="en-US"/>
        </a:p>
      </dgm:t>
    </dgm:pt>
    <dgm:pt modelId="{A85134AF-E2D7-4CEA-AC94-DD979FA46D48}" type="pres">
      <dgm:prSet presAssocID="{54B9B7C2-CDE2-4D0C-91D1-901E98E01B1D}" presName="img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08809F51-46B3-4B30-AF05-ACADB3D7E2F4}" type="pres">
      <dgm:prSet presAssocID="{54B9B7C2-CDE2-4D0C-91D1-901E98E01B1D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F8FD06D-9C4C-4934-9821-8620DD29F08A}" srcId="{2EF9BEE8-8301-41C8-B4AA-3109F0B4F89C}" destId="{EEBD3032-19B8-46AC-BE68-F16FC3C6DD4D}" srcOrd="1" destOrd="0" parTransId="{FEF6348F-153F-4BA5-AA62-8298403FC4E5}" sibTransId="{39B5348F-92BF-416B-9F9D-37BEC8319526}"/>
    <dgm:cxn modelId="{BD076B06-0F8B-4737-834B-F6DBEF362C29}" type="presOf" srcId="{856BFFF7-63BA-4B7C-9FBE-704EEEE863AE}" destId="{ED58855C-6AAD-43DF-AFF7-AB1B4A84D0FE}" srcOrd="0" destOrd="1" presId="urn:microsoft.com/office/officeart/2005/8/layout/vList4#1"/>
    <dgm:cxn modelId="{775EE2DA-0E61-4540-887A-8E113930FE21}" type="presOf" srcId="{EEBD3032-19B8-46AC-BE68-F16FC3C6DD4D}" destId="{0EF583B5-4536-4FC2-9EC1-A9D0C58195F0}" srcOrd="0" destOrd="2" presId="urn:microsoft.com/office/officeart/2005/8/layout/vList4#1"/>
    <dgm:cxn modelId="{B8CEB572-7144-4FD2-907B-2932A330FADB}" type="presOf" srcId="{286F0C1E-FE69-46D8-A21E-3C24D592051C}" destId="{0EF583B5-4536-4FC2-9EC1-A9D0C58195F0}" srcOrd="0" destOrd="1" presId="urn:microsoft.com/office/officeart/2005/8/layout/vList4#1"/>
    <dgm:cxn modelId="{2B0BC7CE-1AF3-4884-9C2E-E231F73483DE}" srcId="{F7A756C9-4D50-43D0-8AC6-85E0FD33C5C7}" destId="{54B9B7C2-CDE2-4D0C-91D1-901E98E01B1D}" srcOrd="2" destOrd="0" parTransId="{2A7B868C-AD7F-4DD9-9223-62DA83AB6863}" sibTransId="{5601856E-1C49-4385-B094-3567604FFB98}"/>
    <dgm:cxn modelId="{7E9DCA22-A519-40A5-B661-C3DCE8FE36F1}" type="presOf" srcId="{54B9B7C2-CDE2-4D0C-91D1-901E98E01B1D}" destId="{ED58855C-6AAD-43DF-AFF7-AB1B4A84D0FE}" srcOrd="0" destOrd="0" presId="urn:microsoft.com/office/officeart/2005/8/layout/vList4#1"/>
    <dgm:cxn modelId="{F8EDEC22-39B3-4EE2-8D9C-70C9FE400CD1}" type="presOf" srcId="{D2CD9140-27A5-41D1-BB55-C5369A4FDB70}" destId="{79D5DAE7-AB05-45E2-A36A-1997FB96A46D}" srcOrd="1" destOrd="2" presId="urn:microsoft.com/office/officeart/2005/8/layout/vList4#1"/>
    <dgm:cxn modelId="{E41F9537-FCE9-43B1-9486-17C1AB9C9841}" type="presOf" srcId="{54B9B7C2-CDE2-4D0C-91D1-901E98E01B1D}" destId="{08809F51-46B3-4B30-AF05-ACADB3D7E2F4}" srcOrd="1" destOrd="0" presId="urn:microsoft.com/office/officeart/2005/8/layout/vList4#1"/>
    <dgm:cxn modelId="{74DA6997-881C-43AC-B32E-C5ECFECE3BF8}" type="presOf" srcId="{6F4D9B1F-9C23-433A-9E16-6594DD474616}" destId="{289940DD-1002-4DCB-86F6-EF1A93D4A1B9}" srcOrd="0" destOrd="0" presId="urn:microsoft.com/office/officeart/2005/8/layout/vList4#1"/>
    <dgm:cxn modelId="{E492F3F6-3D09-44D6-BA8E-344278C5D725}" type="presOf" srcId="{D2CD9140-27A5-41D1-BB55-C5369A4FDB70}" destId="{289940DD-1002-4DCB-86F6-EF1A93D4A1B9}" srcOrd="0" destOrd="2" presId="urn:microsoft.com/office/officeart/2005/8/layout/vList4#1"/>
    <dgm:cxn modelId="{E3898ECC-A00D-49BD-A104-7CF0B678A365}" type="presOf" srcId="{5F6BAFA2-4399-4E48-9326-D6857F8C7BAB}" destId="{08809F51-46B3-4B30-AF05-ACADB3D7E2F4}" srcOrd="1" destOrd="2" presId="urn:microsoft.com/office/officeart/2005/8/layout/vList4#1"/>
    <dgm:cxn modelId="{D1C3FB00-ACAE-4F4E-B083-7BF7051D18EA}" srcId="{F7A756C9-4D50-43D0-8AC6-85E0FD33C5C7}" destId="{2EF9BEE8-8301-41C8-B4AA-3109F0B4F89C}" srcOrd="1" destOrd="0" parTransId="{04AFC656-A7E7-4D2E-91EB-849984E9FFDB}" sibTransId="{93BAFFEE-901C-44D9-A1E4-A238EDCB52F0}"/>
    <dgm:cxn modelId="{00D6127D-6B2D-4CA1-8614-2A42B96DB748}" srcId="{54B9B7C2-CDE2-4D0C-91D1-901E98E01B1D}" destId="{5F6BAFA2-4399-4E48-9326-D6857F8C7BAB}" srcOrd="1" destOrd="0" parTransId="{3AF1191F-E006-4432-9DCB-23EEFB036AD4}" sibTransId="{C35F13DE-495C-4F53-AA7E-B0E7D6DFBE43}"/>
    <dgm:cxn modelId="{736A05C5-2B32-43B7-8988-F5D61BF875F1}" srcId="{6F4D9B1F-9C23-433A-9E16-6594DD474616}" destId="{5F643A03-6E7A-4375-840D-B338F91C5C67}" srcOrd="0" destOrd="0" parTransId="{3DDCA4DC-49A8-4B95-B2ED-41110F4C3152}" sibTransId="{7A9FC06B-863E-4EE6-8C80-F48C4C760EB5}"/>
    <dgm:cxn modelId="{84287523-6D01-4427-8FAA-D6FDE0C9F82B}" type="presOf" srcId="{5F643A03-6E7A-4375-840D-B338F91C5C67}" destId="{289940DD-1002-4DCB-86F6-EF1A93D4A1B9}" srcOrd="0" destOrd="1" presId="urn:microsoft.com/office/officeart/2005/8/layout/vList4#1"/>
    <dgm:cxn modelId="{D60B4374-6583-468D-AB27-C6267BE0F486}" srcId="{F7A756C9-4D50-43D0-8AC6-85E0FD33C5C7}" destId="{6F4D9B1F-9C23-433A-9E16-6594DD474616}" srcOrd="0" destOrd="0" parTransId="{6652B1EF-6909-44E2-8FC5-5BC62738FC05}" sibTransId="{DEA26FEF-511D-44F7-A8F7-409ABC1E6099}"/>
    <dgm:cxn modelId="{5C3083C0-15D3-4FB7-AE11-8A290D0B9025}" type="presOf" srcId="{2EF9BEE8-8301-41C8-B4AA-3109F0B4F89C}" destId="{F39DA724-5A66-4092-94EF-046C90BC9C6A}" srcOrd="1" destOrd="0" presId="urn:microsoft.com/office/officeart/2005/8/layout/vList4#1"/>
    <dgm:cxn modelId="{FD8AF72C-85A8-4205-9875-7603BA228336}" type="presOf" srcId="{286F0C1E-FE69-46D8-A21E-3C24D592051C}" destId="{F39DA724-5A66-4092-94EF-046C90BC9C6A}" srcOrd="1" destOrd="1" presId="urn:microsoft.com/office/officeart/2005/8/layout/vList4#1"/>
    <dgm:cxn modelId="{2E26B73A-5E29-48C7-88E2-291AE3457760}" type="presOf" srcId="{5F643A03-6E7A-4375-840D-B338F91C5C67}" destId="{79D5DAE7-AB05-45E2-A36A-1997FB96A46D}" srcOrd="1" destOrd="1" presId="urn:microsoft.com/office/officeart/2005/8/layout/vList4#1"/>
    <dgm:cxn modelId="{EB890A64-2C78-4ADE-8545-A5D2F4B03E9D}" srcId="{2EF9BEE8-8301-41C8-B4AA-3109F0B4F89C}" destId="{286F0C1E-FE69-46D8-A21E-3C24D592051C}" srcOrd="0" destOrd="0" parTransId="{97BC9C97-A473-4F17-BC2D-7E82E3891AB1}" sibTransId="{F3360940-3140-4A9C-8665-DF2831A14E96}"/>
    <dgm:cxn modelId="{D63D1B24-E25D-4471-BD3B-A7E209D68D9E}" type="presOf" srcId="{2EF9BEE8-8301-41C8-B4AA-3109F0B4F89C}" destId="{0EF583B5-4536-4FC2-9EC1-A9D0C58195F0}" srcOrd="0" destOrd="0" presId="urn:microsoft.com/office/officeart/2005/8/layout/vList4#1"/>
    <dgm:cxn modelId="{475A9F73-8573-48A3-8B92-FAF242BF9DC0}" type="presOf" srcId="{F7A756C9-4D50-43D0-8AC6-85E0FD33C5C7}" destId="{8B874071-34CC-4E80-B71E-DD0CAC41293E}" srcOrd="0" destOrd="0" presId="urn:microsoft.com/office/officeart/2005/8/layout/vList4#1"/>
    <dgm:cxn modelId="{A4772A37-1EDA-4D5B-9AF1-C9E974D14A68}" type="presOf" srcId="{6F4D9B1F-9C23-433A-9E16-6594DD474616}" destId="{79D5DAE7-AB05-45E2-A36A-1997FB96A46D}" srcOrd="1" destOrd="0" presId="urn:microsoft.com/office/officeart/2005/8/layout/vList4#1"/>
    <dgm:cxn modelId="{CB49ACE7-243F-4AE4-8218-36D59DB9FF2C}" type="presOf" srcId="{856BFFF7-63BA-4B7C-9FBE-704EEEE863AE}" destId="{08809F51-46B3-4B30-AF05-ACADB3D7E2F4}" srcOrd="1" destOrd="1" presId="urn:microsoft.com/office/officeart/2005/8/layout/vList4#1"/>
    <dgm:cxn modelId="{C1D11DC2-3282-45B5-98D5-00AA5AD6BF8A}" type="presOf" srcId="{EEBD3032-19B8-46AC-BE68-F16FC3C6DD4D}" destId="{F39DA724-5A66-4092-94EF-046C90BC9C6A}" srcOrd="1" destOrd="2" presId="urn:microsoft.com/office/officeart/2005/8/layout/vList4#1"/>
    <dgm:cxn modelId="{60AF8FC2-4697-4366-AC53-A4E036B76129}" type="presOf" srcId="{5F6BAFA2-4399-4E48-9326-D6857F8C7BAB}" destId="{ED58855C-6AAD-43DF-AFF7-AB1B4A84D0FE}" srcOrd="0" destOrd="2" presId="urn:microsoft.com/office/officeart/2005/8/layout/vList4#1"/>
    <dgm:cxn modelId="{9AA95406-ED06-4948-8493-67B023CC1269}" srcId="{6F4D9B1F-9C23-433A-9E16-6594DD474616}" destId="{D2CD9140-27A5-41D1-BB55-C5369A4FDB70}" srcOrd="1" destOrd="0" parTransId="{5CC46659-E672-443D-8938-D3DA675738B3}" sibTransId="{D9DF4D3E-CB33-4A36-B4F7-4C6E3B3BFF17}"/>
    <dgm:cxn modelId="{6FD44145-E743-4193-9E9C-566703CF681B}" srcId="{54B9B7C2-CDE2-4D0C-91D1-901E98E01B1D}" destId="{856BFFF7-63BA-4B7C-9FBE-704EEEE863AE}" srcOrd="0" destOrd="0" parTransId="{4C3BEEE2-C8E0-4C5E-B343-ABAF5AA69357}" sibTransId="{A13782B4-EAAE-46B6-9A8C-70E28141EE32}"/>
    <dgm:cxn modelId="{A5666856-644E-4313-A99A-1BA48789EA11}" type="presParOf" srcId="{8B874071-34CC-4E80-B71E-DD0CAC41293E}" destId="{0F48DFCC-E2DB-454D-8977-AD76907EE63B}" srcOrd="0" destOrd="0" presId="urn:microsoft.com/office/officeart/2005/8/layout/vList4#1"/>
    <dgm:cxn modelId="{D4E5E6B0-8333-4266-BF72-07E6E7BF5ADA}" type="presParOf" srcId="{0F48DFCC-E2DB-454D-8977-AD76907EE63B}" destId="{289940DD-1002-4DCB-86F6-EF1A93D4A1B9}" srcOrd="0" destOrd="0" presId="urn:microsoft.com/office/officeart/2005/8/layout/vList4#1"/>
    <dgm:cxn modelId="{06161073-C548-4244-8071-1E1925BEB829}" type="presParOf" srcId="{0F48DFCC-E2DB-454D-8977-AD76907EE63B}" destId="{B9BEF37A-1894-4AF6-AC06-A1D5277040B1}" srcOrd="1" destOrd="0" presId="urn:microsoft.com/office/officeart/2005/8/layout/vList4#1"/>
    <dgm:cxn modelId="{A9565AEB-05E3-4F8B-9FDD-62F26F19085B}" type="presParOf" srcId="{0F48DFCC-E2DB-454D-8977-AD76907EE63B}" destId="{79D5DAE7-AB05-45E2-A36A-1997FB96A46D}" srcOrd="2" destOrd="0" presId="urn:microsoft.com/office/officeart/2005/8/layout/vList4#1"/>
    <dgm:cxn modelId="{FA31DDD5-42A6-446C-A808-70DEB7EC3E52}" type="presParOf" srcId="{8B874071-34CC-4E80-B71E-DD0CAC41293E}" destId="{64AE21F9-2A97-40FD-8524-2BCF6A87D5DD}" srcOrd="1" destOrd="0" presId="urn:microsoft.com/office/officeart/2005/8/layout/vList4#1"/>
    <dgm:cxn modelId="{C5DFF5EE-E26F-4BC3-9543-FB9089282DFD}" type="presParOf" srcId="{8B874071-34CC-4E80-B71E-DD0CAC41293E}" destId="{62448C9F-E05D-46D0-8D08-F11EAAD477C4}" srcOrd="2" destOrd="0" presId="urn:microsoft.com/office/officeart/2005/8/layout/vList4#1"/>
    <dgm:cxn modelId="{2AA3424A-C36F-41EE-9369-D651CD393F39}" type="presParOf" srcId="{62448C9F-E05D-46D0-8D08-F11EAAD477C4}" destId="{0EF583B5-4536-4FC2-9EC1-A9D0C58195F0}" srcOrd="0" destOrd="0" presId="urn:microsoft.com/office/officeart/2005/8/layout/vList4#1"/>
    <dgm:cxn modelId="{1F1047D6-4345-481A-9C42-E2C9E902CDD3}" type="presParOf" srcId="{62448C9F-E05D-46D0-8D08-F11EAAD477C4}" destId="{E532505C-1CAB-4545-B3B3-15169A807866}" srcOrd="1" destOrd="0" presId="urn:microsoft.com/office/officeart/2005/8/layout/vList4#1"/>
    <dgm:cxn modelId="{9832FF43-8285-49B1-9E2C-E6ACC9F84653}" type="presParOf" srcId="{62448C9F-E05D-46D0-8D08-F11EAAD477C4}" destId="{F39DA724-5A66-4092-94EF-046C90BC9C6A}" srcOrd="2" destOrd="0" presId="urn:microsoft.com/office/officeart/2005/8/layout/vList4#1"/>
    <dgm:cxn modelId="{AAB27193-7F55-4191-9F80-FAA842EEF4D6}" type="presParOf" srcId="{8B874071-34CC-4E80-B71E-DD0CAC41293E}" destId="{B7583576-4BF7-4E85-AC63-6E376CB4ECD7}" srcOrd="3" destOrd="0" presId="urn:microsoft.com/office/officeart/2005/8/layout/vList4#1"/>
    <dgm:cxn modelId="{DF87C0D1-2AF6-42E7-A483-384CAE3BFC55}" type="presParOf" srcId="{8B874071-34CC-4E80-B71E-DD0CAC41293E}" destId="{7BF5C277-43F0-4C35-A515-336EB4883EF3}" srcOrd="4" destOrd="0" presId="urn:microsoft.com/office/officeart/2005/8/layout/vList4#1"/>
    <dgm:cxn modelId="{84ADC514-37D2-4E02-B330-84FCA598A946}" type="presParOf" srcId="{7BF5C277-43F0-4C35-A515-336EB4883EF3}" destId="{ED58855C-6AAD-43DF-AFF7-AB1B4A84D0FE}" srcOrd="0" destOrd="0" presId="urn:microsoft.com/office/officeart/2005/8/layout/vList4#1"/>
    <dgm:cxn modelId="{F9569E8E-3513-4269-92EF-7DBEC270B92B}" type="presParOf" srcId="{7BF5C277-43F0-4C35-A515-336EB4883EF3}" destId="{A85134AF-E2D7-4CEA-AC94-DD979FA46D48}" srcOrd="1" destOrd="0" presId="urn:microsoft.com/office/officeart/2005/8/layout/vList4#1"/>
    <dgm:cxn modelId="{2905EC4C-336A-4DEF-8002-0F92AB4EA455}" type="presParOf" srcId="{7BF5C277-43F0-4C35-A515-336EB4883EF3}" destId="{08809F51-46B3-4B30-AF05-ACADB3D7E2F4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7A756C9-4D50-43D0-8AC6-85E0FD33C5C7}" type="doc">
      <dgm:prSet loTypeId="urn:microsoft.com/office/officeart/2005/8/layout/vList4#2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F4D9B1F-9C23-433A-9E16-6594DD474616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light Between Page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652B1EF-6909-44E2-8FC5-5BC62738FC05}" type="parTrans" cxnId="{D60B4374-6583-468D-AB27-C6267BE0F486}">
      <dgm:prSet/>
      <dgm:spPr/>
      <dgm:t>
        <a:bodyPr/>
        <a:lstStyle/>
        <a:p>
          <a:endParaRPr lang="en-US"/>
        </a:p>
      </dgm:t>
    </dgm:pt>
    <dgm:pt modelId="{DEA26FEF-511D-44F7-A8F7-409ABC1E6099}" type="sibTrans" cxnId="{D60B4374-6583-468D-AB27-C6267BE0F486}">
      <dgm:prSet/>
      <dgm:spPr/>
      <dgm:t>
        <a:bodyPr/>
        <a:lstStyle/>
        <a:p>
          <a:endParaRPr lang="en-US"/>
        </a:p>
      </dgm:t>
    </dgm:pt>
    <dgm:pt modelId="{5F643A03-6E7A-4375-840D-B338F91C5C67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Heading is inappropriate</a:t>
          </a:r>
          <a:endParaRPr lang="en-US" dirty="0"/>
        </a:p>
      </dgm:t>
    </dgm:pt>
    <dgm:pt modelId="{3DDCA4DC-49A8-4B95-B2ED-41110F4C3152}" type="parTrans" cxnId="{736A05C5-2B32-43B7-8988-F5D61BF875F1}">
      <dgm:prSet/>
      <dgm:spPr/>
      <dgm:t>
        <a:bodyPr/>
        <a:lstStyle/>
        <a:p>
          <a:endParaRPr lang="en-US"/>
        </a:p>
      </dgm:t>
    </dgm:pt>
    <dgm:pt modelId="{7A9FC06B-863E-4EE6-8C80-F48C4C760EB5}" type="sibTrans" cxnId="{736A05C5-2B32-43B7-8988-F5D61BF875F1}">
      <dgm:prSet/>
      <dgm:spPr/>
      <dgm:t>
        <a:bodyPr/>
        <a:lstStyle/>
        <a:p>
          <a:endParaRPr lang="en-US"/>
        </a:p>
      </dgm:t>
    </dgm:pt>
    <dgm:pt modelId="{1055FFF0-57BE-4DF4-94D0-D76DD024A2D2}">
      <dgm:prSet phldrT="[Text]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Date field is accepting invalid date</a:t>
          </a:r>
          <a:endParaRPr lang="en-US" dirty="0"/>
        </a:p>
      </dgm:t>
    </dgm:pt>
    <dgm:pt modelId="{B18583D3-1EC4-4210-B87E-A091F14A1645}" type="parTrans" cxnId="{3E8E3D4A-6F94-47B0-BBE7-7D080E5AFF56}">
      <dgm:prSet/>
      <dgm:spPr/>
      <dgm:t>
        <a:bodyPr/>
        <a:lstStyle/>
        <a:p>
          <a:endParaRPr lang="en-US"/>
        </a:p>
      </dgm:t>
    </dgm:pt>
    <dgm:pt modelId="{E2B639C2-4619-4764-A006-D85BD75E0387}" type="sibTrans" cxnId="{3E8E3D4A-6F94-47B0-BBE7-7D080E5AFF56}">
      <dgm:prSet/>
      <dgm:spPr/>
      <dgm:t>
        <a:bodyPr/>
        <a:lstStyle/>
        <a:p>
          <a:endParaRPr lang="en-US"/>
        </a:p>
      </dgm:t>
    </dgm:pt>
    <dgm:pt modelId="{2EF9BEE8-8301-41C8-B4AA-3109F0B4F89C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ly High Logo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4AFC656-A7E7-4D2E-91EB-849984E9FFDB}" type="parTrans" cxnId="{D1C3FB00-ACAE-4F4E-B083-7BF7051D18EA}">
      <dgm:prSet/>
      <dgm:spPr/>
      <dgm:t>
        <a:bodyPr/>
        <a:lstStyle/>
        <a:p>
          <a:endParaRPr lang="en-US"/>
        </a:p>
      </dgm:t>
    </dgm:pt>
    <dgm:pt modelId="{93BAFFEE-901C-44D9-A1E4-A238EDCB52F0}" type="sibTrans" cxnId="{D1C3FB00-ACAE-4F4E-B083-7BF7051D18EA}">
      <dgm:prSet/>
      <dgm:spPr/>
      <dgm:t>
        <a:bodyPr/>
        <a:lstStyle/>
        <a:p>
          <a:endParaRPr lang="en-US"/>
        </a:p>
      </dgm:t>
    </dgm:pt>
    <dgm:pt modelId="{286F0C1E-FE69-46D8-A21E-3C24D592051C}">
      <dgm:prSet phldrT="[Text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The Fly High Logo is not displaying proper page.</a:t>
          </a:r>
          <a:endParaRPr lang="en-US" dirty="0"/>
        </a:p>
      </dgm:t>
    </dgm:pt>
    <dgm:pt modelId="{97BC9C97-A473-4F17-BC2D-7E82E3891AB1}" type="parTrans" cxnId="{EB890A64-2C78-4ADE-8545-A5D2F4B03E9D}">
      <dgm:prSet/>
      <dgm:spPr/>
      <dgm:t>
        <a:bodyPr/>
        <a:lstStyle/>
        <a:p>
          <a:endParaRPr lang="en-US"/>
        </a:p>
      </dgm:t>
    </dgm:pt>
    <dgm:pt modelId="{F3360940-3140-4A9C-8665-DF2831A14E96}" type="sibTrans" cxnId="{EB890A64-2C78-4ADE-8545-A5D2F4B03E9D}">
      <dgm:prSet/>
      <dgm:spPr/>
      <dgm:t>
        <a:bodyPr/>
        <a:lstStyle/>
        <a:p>
          <a:endParaRPr lang="en-US"/>
        </a:p>
      </dgm:t>
    </dgm:pt>
    <dgm:pt modelId="{54B9B7C2-CDE2-4D0C-91D1-901E98E01B1D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ayment Page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A7B868C-AD7F-4DD9-9223-62DA83AB6863}" type="parTrans" cxnId="{2B0BC7CE-1AF3-4884-9C2E-E231F73483DE}">
      <dgm:prSet/>
      <dgm:spPr/>
      <dgm:t>
        <a:bodyPr/>
        <a:lstStyle/>
        <a:p>
          <a:endParaRPr lang="en-US"/>
        </a:p>
      </dgm:t>
    </dgm:pt>
    <dgm:pt modelId="{5601856E-1C49-4385-B094-3567604FFB98}" type="sibTrans" cxnId="{2B0BC7CE-1AF3-4884-9C2E-E231F73483DE}">
      <dgm:prSet/>
      <dgm:spPr/>
      <dgm:t>
        <a:bodyPr/>
        <a:lstStyle/>
        <a:p>
          <a:endParaRPr lang="en-US"/>
        </a:p>
      </dgm:t>
    </dgm:pt>
    <dgm:pt modelId="{856BFFF7-63BA-4B7C-9FBE-704EEEE863AE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On clicking make payment with valid credentials, no booking confirmed message displayed</a:t>
          </a:r>
          <a:endParaRPr lang="en-US" dirty="0"/>
        </a:p>
      </dgm:t>
    </dgm:pt>
    <dgm:pt modelId="{4C3BEEE2-C8E0-4C5E-B343-ABAF5AA69357}" type="parTrans" cxnId="{6FD44145-E743-4193-9E9C-566703CF681B}">
      <dgm:prSet/>
      <dgm:spPr/>
      <dgm:t>
        <a:bodyPr/>
        <a:lstStyle/>
        <a:p>
          <a:endParaRPr lang="en-US"/>
        </a:p>
      </dgm:t>
    </dgm:pt>
    <dgm:pt modelId="{A13782B4-EAAE-46B6-9A8C-70E28141EE32}" type="sibTrans" cxnId="{6FD44145-E743-4193-9E9C-566703CF681B}">
      <dgm:prSet/>
      <dgm:spPr/>
      <dgm:t>
        <a:bodyPr/>
        <a:lstStyle/>
        <a:p>
          <a:endParaRPr lang="en-US"/>
        </a:p>
      </dgm:t>
    </dgm:pt>
    <dgm:pt modelId="{8B874071-34CC-4E80-B71E-DD0CAC41293E}" type="pres">
      <dgm:prSet presAssocID="{F7A756C9-4D50-43D0-8AC6-85E0FD33C5C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F48DFCC-E2DB-454D-8977-AD76907EE63B}" type="pres">
      <dgm:prSet presAssocID="{6F4D9B1F-9C23-433A-9E16-6594DD474616}" presName="comp" presStyleCnt="0"/>
      <dgm:spPr/>
      <dgm:t>
        <a:bodyPr/>
        <a:lstStyle/>
        <a:p>
          <a:endParaRPr lang="en-IN"/>
        </a:p>
      </dgm:t>
    </dgm:pt>
    <dgm:pt modelId="{289940DD-1002-4DCB-86F6-EF1A93D4A1B9}" type="pres">
      <dgm:prSet presAssocID="{6F4D9B1F-9C23-433A-9E16-6594DD474616}" presName="box" presStyleLbl="node1" presStyleIdx="0" presStyleCnt="3"/>
      <dgm:spPr/>
      <dgm:t>
        <a:bodyPr/>
        <a:lstStyle/>
        <a:p>
          <a:endParaRPr lang="en-US"/>
        </a:p>
      </dgm:t>
    </dgm:pt>
    <dgm:pt modelId="{B9BEF37A-1894-4AF6-AC06-A1D5277040B1}" type="pres">
      <dgm:prSet presAssocID="{6F4D9B1F-9C23-433A-9E16-6594DD474616}" presName="img" presStyleLbl="fgImgPlace1" presStyleIdx="0" presStyleCnt="3" custLinFactNeighborY="3125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79D5DAE7-AB05-45E2-A36A-1997FB96A46D}" type="pres">
      <dgm:prSet presAssocID="{6F4D9B1F-9C23-433A-9E16-6594DD47461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AE21F9-2A97-40FD-8524-2BCF6A87D5DD}" type="pres">
      <dgm:prSet presAssocID="{DEA26FEF-511D-44F7-A8F7-409ABC1E6099}" presName="spacer" presStyleCnt="0"/>
      <dgm:spPr/>
      <dgm:t>
        <a:bodyPr/>
        <a:lstStyle/>
        <a:p>
          <a:endParaRPr lang="en-IN"/>
        </a:p>
      </dgm:t>
    </dgm:pt>
    <dgm:pt modelId="{62448C9F-E05D-46D0-8D08-F11EAAD477C4}" type="pres">
      <dgm:prSet presAssocID="{2EF9BEE8-8301-41C8-B4AA-3109F0B4F89C}" presName="comp" presStyleCnt="0"/>
      <dgm:spPr/>
      <dgm:t>
        <a:bodyPr/>
        <a:lstStyle/>
        <a:p>
          <a:endParaRPr lang="en-IN"/>
        </a:p>
      </dgm:t>
    </dgm:pt>
    <dgm:pt modelId="{0EF583B5-4536-4FC2-9EC1-A9D0C58195F0}" type="pres">
      <dgm:prSet presAssocID="{2EF9BEE8-8301-41C8-B4AA-3109F0B4F89C}" presName="box" presStyleLbl="node1" presStyleIdx="1" presStyleCnt="3"/>
      <dgm:spPr/>
      <dgm:t>
        <a:bodyPr/>
        <a:lstStyle/>
        <a:p>
          <a:endParaRPr lang="en-US"/>
        </a:p>
      </dgm:t>
    </dgm:pt>
    <dgm:pt modelId="{E532505C-1CAB-4545-B3B3-15169A807866}" type="pres">
      <dgm:prSet presAssocID="{2EF9BEE8-8301-41C8-B4AA-3109F0B4F89C}" presName="img" presStyleLbl="fgImgPlace1" presStyleIdx="1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F39DA724-5A66-4092-94EF-046C90BC9C6A}" type="pres">
      <dgm:prSet presAssocID="{2EF9BEE8-8301-41C8-B4AA-3109F0B4F89C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583576-4BF7-4E85-AC63-6E376CB4ECD7}" type="pres">
      <dgm:prSet presAssocID="{93BAFFEE-901C-44D9-A1E4-A238EDCB52F0}" presName="spacer" presStyleCnt="0"/>
      <dgm:spPr/>
      <dgm:t>
        <a:bodyPr/>
        <a:lstStyle/>
        <a:p>
          <a:endParaRPr lang="en-IN"/>
        </a:p>
      </dgm:t>
    </dgm:pt>
    <dgm:pt modelId="{7BF5C277-43F0-4C35-A515-336EB4883EF3}" type="pres">
      <dgm:prSet presAssocID="{54B9B7C2-CDE2-4D0C-91D1-901E98E01B1D}" presName="comp" presStyleCnt="0"/>
      <dgm:spPr/>
      <dgm:t>
        <a:bodyPr/>
        <a:lstStyle/>
        <a:p>
          <a:endParaRPr lang="en-IN"/>
        </a:p>
      </dgm:t>
    </dgm:pt>
    <dgm:pt modelId="{ED58855C-6AAD-43DF-AFF7-AB1B4A84D0FE}" type="pres">
      <dgm:prSet presAssocID="{54B9B7C2-CDE2-4D0C-91D1-901E98E01B1D}" presName="box" presStyleLbl="node1" presStyleIdx="2" presStyleCnt="3"/>
      <dgm:spPr/>
      <dgm:t>
        <a:bodyPr/>
        <a:lstStyle/>
        <a:p>
          <a:endParaRPr lang="en-US"/>
        </a:p>
      </dgm:t>
    </dgm:pt>
    <dgm:pt modelId="{A85134AF-E2D7-4CEA-AC94-DD979FA46D48}" type="pres">
      <dgm:prSet presAssocID="{54B9B7C2-CDE2-4D0C-91D1-901E98E01B1D}" presName="img" presStyleLbl="fgImgPlace1" presStyleIdx="2" presStyleCnt="3"/>
      <dgm:spPr>
        <a:blipFill rotWithShape="0">
          <a:blip xmlns:r="http://schemas.openxmlformats.org/officeDocument/2006/relationships" r:embed="rId3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en-IN"/>
        </a:p>
      </dgm:t>
    </dgm:pt>
    <dgm:pt modelId="{08809F51-46B3-4B30-AF05-ACADB3D7E2F4}" type="pres">
      <dgm:prSet presAssocID="{54B9B7C2-CDE2-4D0C-91D1-901E98E01B1D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34022B8-2840-4789-B8F3-21A750F9B24C}" type="presOf" srcId="{856BFFF7-63BA-4B7C-9FBE-704EEEE863AE}" destId="{08809F51-46B3-4B30-AF05-ACADB3D7E2F4}" srcOrd="1" destOrd="1" presId="urn:microsoft.com/office/officeart/2005/8/layout/vList4#2"/>
    <dgm:cxn modelId="{82EFE84D-20DA-470B-89C2-326810C14B2E}" type="presOf" srcId="{6F4D9B1F-9C23-433A-9E16-6594DD474616}" destId="{79D5DAE7-AB05-45E2-A36A-1997FB96A46D}" srcOrd="1" destOrd="0" presId="urn:microsoft.com/office/officeart/2005/8/layout/vList4#2"/>
    <dgm:cxn modelId="{F470FA72-CDE7-4BDD-B27D-02A25DCCE721}" type="presOf" srcId="{5F643A03-6E7A-4375-840D-B338F91C5C67}" destId="{79D5DAE7-AB05-45E2-A36A-1997FB96A46D}" srcOrd="1" destOrd="1" presId="urn:microsoft.com/office/officeart/2005/8/layout/vList4#2"/>
    <dgm:cxn modelId="{2B0BC7CE-1AF3-4884-9C2E-E231F73483DE}" srcId="{F7A756C9-4D50-43D0-8AC6-85E0FD33C5C7}" destId="{54B9B7C2-CDE2-4D0C-91D1-901E98E01B1D}" srcOrd="2" destOrd="0" parTransId="{2A7B868C-AD7F-4DD9-9223-62DA83AB6863}" sibTransId="{5601856E-1C49-4385-B094-3567604FFB98}"/>
    <dgm:cxn modelId="{3E8E3D4A-6F94-47B0-BBE7-7D080E5AFF56}" srcId="{6F4D9B1F-9C23-433A-9E16-6594DD474616}" destId="{1055FFF0-57BE-4DF4-94D0-D76DD024A2D2}" srcOrd="1" destOrd="0" parTransId="{B18583D3-1EC4-4210-B87E-A091F14A1645}" sibTransId="{E2B639C2-4619-4764-A006-D85BD75E0387}"/>
    <dgm:cxn modelId="{7F744058-544B-4047-B71E-E6C3DCACA426}" type="presOf" srcId="{54B9B7C2-CDE2-4D0C-91D1-901E98E01B1D}" destId="{08809F51-46B3-4B30-AF05-ACADB3D7E2F4}" srcOrd="1" destOrd="0" presId="urn:microsoft.com/office/officeart/2005/8/layout/vList4#2"/>
    <dgm:cxn modelId="{3CCE54A3-25D0-48A8-8A48-3F963CF86B08}" type="presOf" srcId="{1055FFF0-57BE-4DF4-94D0-D76DD024A2D2}" destId="{289940DD-1002-4DCB-86F6-EF1A93D4A1B9}" srcOrd="0" destOrd="2" presId="urn:microsoft.com/office/officeart/2005/8/layout/vList4#2"/>
    <dgm:cxn modelId="{585D2AF2-A3AF-4D7F-8902-149146BEC8B3}" type="presOf" srcId="{286F0C1E-FE69-46D8-A21E-3C24D592051C}" destId="{F39DA724-5A66-4092-94EF-046C90BC9C6A}" srcOrd="1" destOrd="1" presId="urn:microsoft.com/office/officeart/2005/8/layout/vList4#2"/>
    <dgm:cxn modelId="{D1C3FB00-ACAE-4F4E-B083-7BF7051D18EA}" srcId="{F7A756C9-4D50-43D0-8AC6-85E0FD33C5C7}" destId="{2EF9BEE8-8301-41C8-B4AA-3109F0B4F89C}" srcOrd="1" destOrd="0" parTransId="{04AFC656-A7E7-4D2E-91EB-849984E9FFDB}" sibTransId="{93BAFFEE-901C-44D9-A1E4-A238EDCB52F0}"/>
    <dgm:cxn modelId="{736A05C5-2B32-43B7-8988-F5D61BF875F1}" srcId="{6F4D9B1F-9C23-433A-9E16-6594DD474616}" destId="{5F643A03-6E7A-4375-840D-B338F91C5C67}" srcOrd="0" destOrd="0" parTransId="{3DDCA4DC-49A8-4B95-B2ED-41110F4C3152}" sibTransId="{7A9FC06B-863E-4EE6-8C80-F48C4C760EB5}"/>
    <dgm:cxn modelId="{6FB8917B-5320-45F1-AEEF-2BC5609E775D}" type="presOf" srcId="{286F0C1E-FE69-46D8-A21E-3C24D592051C}" destId="{0EF583B5-4536-4FC2-9EC1-A9D0C58195F0}" srcOrd="0" destOrd="1" presId="urn:microsoft.com/office/officeart/2005/8/layout/vList4#2"/>
    <dgm:cxn modelId="{25C14E0C-5DE5-488D-9D71-A5CA582C8B0D}" type="presOf" srcId="{856BFFF7-63BA-4B7C-9FBE-704EEEE863AE}" destId="{ED58855C-6AAD-43DF-AFF7-AB1B4A84D0FE}" srcOrd="0" destOrd="1" presId="urn:microsoft.com/office/officeart/2005/8/layout/vList4#2"/>
    <dgm:cxn modelId="{D60B4374-6583-468D-AB27-C6267BE0F486}" srcId="{F7A756C9-4D50-43D0-8AC6-85E0FD33C5C7}" destId="{6F4D9B1F-9C23-433A-9E16-6594DD474616}" srcOrd="0" destOrd="0" parTransId="{6652B1EF-6909-44E2-8FC5-5BC62738FC05}" sibTransId="{DEA26FEF-511D-44F7-A8F7-409ABC1E6099}"/>
    <dgm:cxn modelId="{C1B15F90-3869-4E53-AD84-5504F9808B01}" type="presOf" srcId="{1055FFF0-57BE-4DF4-94D0-D76DD024A2D2}" destId="{79D5DAE7-AB05-45E2-A36A-1997FB96A46D}" srcOrd="1" destOrd="2" presId="urn:microsoft.com/office/officeart/2005/8/layout/vList4#2"/>
    <dgm:cxn modelId="{EB890A64-2C78-4ADE-8545-A5D2F4B03E9D}" srcId="{2EF9BEE8-8301-41C8-B4AA-3109F0B4F89C}" destId="{286F0C1E-FE69-46D8-A21E-3C24D592051C}" srcOrd="0" destOrd="0" parTransId="{97BC9C97-A473-4F17-BC2D-7E82E3891AB1}" sibTransId="{F3360940-3140-4A9C-8665-DF2831A14E96}"/>
    <dgm:cxn modelId="{851719E8-7DD8-4B82-AB8C-4448C5648364}" type="presOf" srcId="{54B9B7C2-CDE2-4D0C-91D1-901E98E01B1D}" destId="{ED58855C-6AAD-43DF-AFF7-AB1B4A84D0FE}" srcOrd="0" destOrd="0" presId="urn:microsoft.com/office/officeart/2005/8/layout/vList4#2"/>
    <dgm:cxn modelId="{8C07F8BC-F91D-41D4-8D30-881766C8DC90}" type="presOf" srcId="{2EF9BEE8-8301-41C8-B4AA-3109F0B4F89C}" destId="{0EF583B5-4536-4FC2-9EC1-A9D0C58195F0}" srcOrd="0" destOrd="0" presId="urn:microsoft.com/office/officeart/2005/8/layout/vList4#2"/>
    <dgm:cxn modelId="{CAA90022-7376-4939-9D9B-745BFED50F59}" type="presOf" srcId="{5F643A03-6E7A-4375-840D-B338F91C5C67}" destId="{289940DD-1002-4DCB-86F6-EF1A93D4A1B9}" srcOrd="0" destOrd="1" presId="urn:microsoft.com/office/officeart/2005/8/layout/vList4#2"/>
    <dgm:cxn modelId="{5E5B7E67-0385-4018-878A-F1D48FC59280}" type="presOf" srcId="{2EF9BEE8-8301-41C8-B4AA-3109F0B4F89C}" destId="{F39DA724-5A66-4092-94EF-046C90BC9C6A}" srcOrd="1" destOrd="0" presId="urn:microsoft.com/office/officeart/2005/8/layout/vList4#2"/>
    <dgm:cxn modelId="{4912C729-5899-4356-931C-6BF532F30AF3}" type="presOf" srcId="{F7A756C9-4D50-43D0-8AC6-85E0FD33C5C7}" destId="{8B874071-34CC-4E80-B71E-DD0CAC41293E}" srcOrd="0" destOrd="0" presId="urn:microsoft.com/office/officeart/2005/8/layout/vList4#2"/>
    <dgm:cxn modelId="{6FD44145-E743-4193-9E9C-566703CF681B}" srcId="{54B9B7C2-CDE2-4D0C-91D1-901E98E01B1D}" destId="{856BFFF7-63BA-4B7C-9FBE-704EEEE863AE}" srcOrd="0" destOrd="0" parTransId="{4C3BEEE2-C8E0-4C5E-B343-ABAF5AA69357}" sibTransId="{A13782B4-EAAE-46B6-9A8C-70E28141EE32}"/>
    <dgm:cxn modelId="{8EA8F73F-6415-49D6-BECD-5078D3C8E45E}" type="presOf" srcId="{6F4D9B1F-9C23-433A-9E16-6594DD474616}" destId="{289940DD-1002-4DCB-86F6-EF1A93D4A1B9}" srcOrd="0" destOrd="0" presId="urn:microsoft.com/office/officeart/2005/8/layout/vList4#2"/>
    <dgm:cxn modelId="{E57901BE-939F-4CF5-8668-38F8FB7EFAC1}" type="presParOf" srcId="{8B874071-34CC-4E80-B71E-DD0CAC41293E}" destId="{0F48DFCC-E2DB-454D-8977-AD76907EE63B}" srcOrd="0" destOrd="0" presId="urn:microsoft.com/office/officeart/2005/8/layout/vList4#2"/>
    <dgm:cxn modelId="{BC666436-F421-42F2-AFDD-727B836A2780}" type="presParOf" srcId="{0F48DFCC-E2DB-454D-8977-AD76907EE63B}" destId="{289940DD-1002-4DCB-86F6-EF1A93D4A1B9}" srcOrd="0" destOrd="0" presId="urn:microsoft.com/office/officeart/2005/8/layout/vList4#2"/>
    <dgm:cxn modelId="{111BD5AB-5627-4B31-B077-9F3A74674903}" type="presParOf" srcId="{0F48DFCC-E2DB-454D-8977-AD76907EE63B}" destId="{B9BEF37A-1894-4AF6-AC06-A1D5277040B1}" srcOrd="1" destOrd="0" presId="urn:microsoft.com/office/officeart/2005/8/layout/vList4#2"/>
    <dgm:cxn modelId="{442932E2-D11B-4432-9AF1-C075A6FF5173}" type="presParOf" srcId="{0F48DFCC-E2DB-454D-8977-AD76907EE63B}" destId="{79D5DAE7-AB05-45E2-A36A-1997FB96A46D}" srcOrd="2" destOrd="0" presId="urn:microsoft.com/office/officeart/2005/8/layout/vList4#2"/>
    <dgm:cxn modelId="{083DCC6F-B5FC-4346-A3D1-483602782555}" type="presParOf" srcId="{8B874071-34CC-4E80-B71E-DD0CAC41293E}" destId="{64AE21F9-2A97-40FD-8524-2BCF6A87D5DD}" srcOrd="1" destOrd="0" presId="urn:microsoft.com/office/officeart/2005/8/layout/vList4#2"/>
    <dgm:cxn modelId="{E6149383-031E-447E-9DEA-05A1127B69A8}" type="presParOf" srcId="{8B874071-34CC-4E80-B71E-DD0CAC41293E}" destId="{62448C9F-E05D-46D0-8D08-F11EAAD477C4}" srcOrd="2" destOrd="0" presId="urn:microsoft.com/office/officeart/2005/8/layout/vList4#2"/>
    <dgm:cxn modelId="{6500FB42-ED5A-4791-9DCE-5FEC8FD12ED3}" type="presParOf" srcId="{62448C9F-E05D-46D0-8D08-F11EAAD477C4}" destId="{0EF583B5-4536-4FC2-9EC1-A9D0C58195F0}" srcOrd="0" destOrd="0" presId="urn:microsoft.com/office/officeart/2005/8/layout/vList4#2"/>
    <dgm:cxn modelId="{FC6D64A7-508A-4C4C-A412-0ED09EE755B5}" type="presParOf" srcId="{62448C9F-E05D-46D0-8D08-F11EAAD477C4}" destId="{E532505C-1CAB-4545-B3B3-15169A807866}" srcOrd="1" destOrd="0" presId="urn:microsoft.com/office/officeart/2005/8/layout/vList4#2"/>
    <dgm:cxn modelId="{7E9B91DE-C3DD-48D9-AD00-A60CE31B464F}" type="presParOf" srcId="{62448C9F-E05D-46D0-8D08-F11EAAD477C4}" destId="{F39DA724-5A66-4092-94EF-046C90BC9C6A}" srcOrd="2" destOrd="0" presId="urn:microsoft.com/office/officeart/2005/8/layout/vList4#2"/>
    <dgm:cxn modelId="{D072E278-EE0A-4543-9577-9B368A176FA7}" type="presParOf" srcId="{8B874071-34CC-4E80-B71E-DD0CAC41293E}" destId="{B7583576-4BF7-4E85-AC63-6E376CB4ECD7}" srcOrd="3" destOrd="0" presId="urn:microsoft.com/office/officeart/2005/8/layout/vList4#2"/>
    <dgm:cxn modelId="{6EFF2519-AC75-4F3F-A446-BEF69B3C86FC}" type="presParOf" srcId="{8B874071-34CC-4E80-B71E-DD0CAC41293E}" destId="{7BF5C277-43F0-4C35-A515-336EB4883EF3}" srcOrd="4" destOrd="0" presId="urn:microsoft.com/office/officeart/2005/8/layout/vList4#2"/>
    <dgm:cxn modelId="{A89C34E3-AC0C-4393-98C2-93A34CD9827C}" type="presParOf" srcId="{7BF5C277-43F0-4C35-A515-336EB4883EF3}" destId="{ED58855C-6AAD-43DF-AFF7-AB1B4A84D0FE}" srcOrd="0" destOrd="0" presId="urn:microsoft.com/office/officeart/2005/8/layout/vList4#2"/>
    <dgm:cxn modelId="{AC9CBB52-DD22-42A2-93F9-7D9B7A52E3C5}" type="presParOf" srcId="{7BF5C277-43F0-4C35-A515-336EB4883EF3}" destId="{A85134AF-E2D7-4CEA-AC94-DD979FA46D48}" srcOrd="1" destOrd="0" presId="urn:microsoft.com/office/officeart/2005/8/layout/vList4#2"/>
    <dgm:cxn modelId="{B233A78B-BA14-4237-BA91-160A945532D4}" type="presParOf" srcId="{7BF5C277-43F0-4C35-A515-336EB4883EF3}" destId="{08809F51-46B3-4B30-AF05-ACADB3D7E2F4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E171A7E-91DF-4B30-919D-76CA851F4213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IN"/>
        </a:p>
      </dgm:t>
    </dgm:pt>
    <dgm:pt modelId="{E928103B-7575-4AA7-A281-79D6D7929B68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st Cases</a:t>
          </a:r>
          <a:endParaRPr lang="en-IN" b="1" dirty="0">
            <a:latin typeface="Arial" pitchFamily="34" charset="0"/>
            <a:cs typeface="Arial" pitchFamily="34" charset="0"/>
          </a:endParaRPr>
        </a:p>
      </dgm:t>
    </dgm:pt>
    <dgm:pt modelId="{4712C4D4-88F2-4123-9A28-8C13A7A5A81F}" type="parTrans" cxnId="{6ADA2798-ACEE-4475-8968-4C556890DB61}">
      <dgm:prSet/>
      <dgm:spPr/>
      <dgm:t>
        <a:bodyPr/>
        <a:lstStyle/>
        <a:p>
          <a:endParaRPr lang="en-IN"/>
        </a:p>
      </dgm:t>
    </dgm:pt>
    <dgm:pt modelId="{4CD51525-FF3D-4C0A-9EFC-8DBCB6C02014}" type="sibTrans" cxnId="{6ADA2798-ACEE-4475-8968-4C556890DB61}">
      <dgm:prSet/>
      <dgm:spPr/>
      <dgm:t>
        <a:bodyPr/>
        <a:lstStyle/>
        <a:p>
          <a:endParaRPr lang="en-IN"/>
        </a:p>
      </dgm:t>
    </dgm:pt>
    <dgm:pt modelId="{C3DE2CA7-1B4A-4C82-A157-9C1A020BFA99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Test cases = 77</a:t>
          </a:r>
          <a:endParaRPr lang="en-IN" sz="2000" dirty="0"/>
        </a:p>
      </dgm:t>
    </dgm:pt>
    <dgm:pt modelId="{423E2522-9CDE-425C-936D-9F64938E4DAC}" type="parTrans" cxnId="{62C0EDDA-9BAF-4D84-B6F1-0F0E57C7BD9F}">
      <dgm:prSet/>
      <dgm:spPr/>
      <dgm:t>
        <a:bodyPr/>
        <a:lstStyle/>
        <a:p>
          <a:endParaRPr lang="en-IN"/>
        </a:p>
      </dgm:t>
    </dgm:pt>
    <dgm:pt modelId="{289891B5-7EFD-471D-B27D-FF7AE93FEA11}" type="sibTrans" cxnId="{62C0EDDA-9BAF-4D84-B6F1-0F0E57C7BD9F}">
      <dgm:prSet/>
      <dgm:spPr/>
      <dgm:t>
        <a:bodyPr/>
        <a:lstStyle/>
        <a:p>
          <a:endParaRPr lang="en-IN"/>
        </a:p>
      </dgm:t>
    </dgm:pt>
    <dgm:pt modelId="{EFCEA9DF-59FC-480C-9881-9657FFABF678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Defects</a:t>
          </a:r>
          <a:endParaRPr lang="en-IN" b="1" dirty="0">
            <a:effectLst/>
            <a:latin typeface="Arial" pitchFamily="34" charset="0"/>
            <a:cs typeface="Arial" pitchFamily="34" charset="0"/>
          </a:endParaRPr>
        </a:p>
      </dgm:t>
    </dgm:pt>
    <dgm:pt modelId="{342B3B31-D2FB-40A7-8A1E-A6ACF950BF0D}" type="parTrans" cxnId="{231D4A0E-1ADA-4DD5-B9ED-8D83461F9365}">
      <dgm:prSet/>
      <dgm:spPr/>
      <dgm:t>
        <a:bodyPr/>
        <a:lstStyle/>
        <a:p>
          <a:endParaRPr lang="en-IN"/>
        </a:p>
      </dgm:t>
    </dgm:pt>
    <dgm:pt modelId="{4C290477-5DA4-4F6E-9CF7-3BF18969227B}" type="sibTrans" cxnId="{231D4A0E-1ADA-4DD5-B9ED-8D83461F9365}">
      <dgm:prSet/>
      <dgm:spPr/>
      <dgm:t>
        <a:bodyPr/>
        <a:lstStyle/>
        <a:p>
          <a:endParaRPr lang="en-IN"/>
        </a:p>
      </dgm:t>
    </dgm:pt>
    <dgm:pt modelId="{7FD93279-0E92-4B53-8579-7C5F9F201FE8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defects found =20</a:t>
          </a:r>
          <a:endParaRPr lang="en-IN" sz="2000" dirty="0"/>
        </a:p>
      </dgm:t>
    </dgm:pt>
    <dgm:pt modelId="{29CE8C63-E187-4FDC-99D3-CCC2D6606345}" type="parTrans" cxnId="{24487745-52AE-466C-9465-094FDCDD2663}">
      <dgm:prSet/>
      <dgm:spPr/>
      <dgm:t>
        <a:bodyPr/>
        <a:lstStyle/>
        <a:p>
          <a:endParaRPr lang="en-IN"/>
        </a:p>
      </dgm:t>
    </dgm:pt>
    <dgm:pt modelId="{5538A195-2D1C-4037-9871-2D03E4E92AF8}" type="sibTrans" cxnId="{24487745-52AE-466C-9465-094FDCDD2663}">
      <dgm:prSet/>
      <dgm:spPr/>
      <dgm:t>
        <a:bodyPr/>
        <a:lstStyle/>
        <a:p>
          <a:endParaRPr lang="en-IN"/>
        </a:p>
      </dgm:t>
    </dgm:pt>
    <dgm:pt modelId="{900C107E-31F7-4207-B685-76F58F4B568D}">
      <dgm:prSet phldrT="[Text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se Cases</a:t>
          </a:r>
          <a:endParaRPr lang="en-IN" b="1" dirty="0">
            <a:latin typeface="Arial" pitchFamily="34" charset="0"/>
            <a:cs typeface="Arial" pitchFamily="34" charset="0"/>
          </a:endParaRPr>
        </a:p>
      </dgm:t>
    </dgm:pt>
    <dgm:pt modelId="{F03EF3E9-B15F-4FAD-A442-D9641674B22E}" type="parTrans" cxnId="{95B7108A-5E0A-407D-91FC-E25EFE598550}">
      <dgm:prSet/>
      <dgm:spPr/>
      <dgm:t>
        <a:bodyPr/>
        <a:lstStyle/>
        <a:p>
          <a:endParaRPr lang="en-IN"/>
        </a:p>
      </dgm:t>
    </dgm:pt>
    <dgm:pt modelId="{664EDC85-2E2D-4C39-AE83-0566BE7C0760}" type="sibTrans" cxnId="{95B7108A-5E0A-407D-91FC-E25EFE598550}">
      <dgm:prSet/>
      <dgm:spPr/>
      <dgm:t>
        <a:bodyPr/>
        <a:lstStyle/>
        <a:p>
          <a:endParaRPr lang="en-IN"/>
        </a:p>
      </dgm:t>
    </dgm:pt>
    <dgm:pt modelId="{718FB375-4DE4-43D9-AE42-87F35607F31B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flows = 9</a:t>
          </a:r>
          <a:endParaRPr lang="en-IN" sz="2000" dirty="0"/>
        </a:p>
      </dgm:t>
    </dgm:pt>
    <dgm:pt modelId="{99B8AB93-3EC5-4C3D-A9FC-89BBB33E0E12}" type="parTrans" cxnId="{7FC6E65E-122D-4110-9228-DACA779C6DCD}">
      <dgm:prSet/>
      <dgm:spPr/>
      <dgm:t>
        <a:bodyPr/>
        <a:lstStyle/>
        <a:p>
          <a:endParaRPr lang="en-IN"/>
        </a:p>
      </dgm:t>
    </dgm:pt>
    <dgm:pt modelId="{C1DBEA3F-75DA-4496-90F3-4AD818FD89C5}" type="sibTrans" cxnId="{7FC6E65E-122D-4110-9228-DACA779C6DCD}">
      <dgm:prSet/>
      <dgm:spPr/>
      <dgm:t>
        <a:bodyPr/>
        <a:lstStyle/>
        <a:p>
          <a:endParaRPr lang="en-IN"/>
        </a:p>
      </dgm:t>
    </dgm:pt>
    <dgm:pt modelId="{8077EDF5-1622-4739-AE12-F181F12C815C}">
      <dgm:prSet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test cases passed = 57</a:t>
          </a:r>
          <a:endParaRPr lang="en-US" sz="2000" dirty="0" smtClean="0">
            <a:solidFill>
              <a:schemeClr val="tx1"/>
            </a:solidFill>
          </a:endParaRPr>
        </a:p>
      </dgm:t>
    </dgm:pt>
    <dgm:pt modelId="{3B49F02D-F5AB-4B5F-BBFB-ECA1DA22B2A4}" type="parTrans" cxnId="{9C50D720-C750-4B0A-97A4-4736864912B6}">
      <dgm:prSet/>
      <dgm:spPr/>
      <dgm:t>
        <a:bodyPr/>
        <a:lstStyle/>
        <a:p>
          <a:endParaRPr lang="en-IN"/>
        </a:p>
      </dgm:t>
    </dgm:pt>
    <dgm:pt modelId="{39F92548-60F0-466C-91DF-7C8E4453425A}" type="sibTrans" cxnId="{9C50D720-C750-4B0A-97A4-4736864912B6}">
      <dgm:prSet/>
      <dgm:spPr/>
      <dgm:t>
        <a:bodyPr/>
        <a:lstStyle/>
        <a:p>
          <a:endParaRPr lang="en-IN"/>
        </a:p>
      </dgm:t>
    </dgm:pt>
    <dgm:pt modelId="{FB8A7707-BF99-4133-BBCD-E8B5D709E91A}">
      <dgm:prSet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</a:rPr>
            <a:t>Total No. of Test cases failed =20</a:t>
          </a:r>
          <a:endParaRPr lang="en-US" sz="2000" dirty="0" smtClean="0">
            <a:solidFill>
              <a:schemeClr val="tx1"/>
            </a:solidFill>
          </a:endParaRPr>
        </a:p>
      </dgm:t>
    </dgm:pt>
    <dgm:pt modelId="{D3AC3B37-3F06-4E5C-B921-C78AD4215CC8}" type="parTrans" cxnId="{1575C7C7-A209-481F-8B72-D0BAA8849A1C}">
      <dgm:prSet/>
      <dgm:spPr/>
      <dgm:t>
        <a:bodyPr/>
        <a:lstStyle/>
        <a:p>
          <a:endParaRPr lang="en-IN"/>
        </a:p>
      </dgm:t>
    </dgm:pt>
    <dgm:pt modelId="{1CF647AA-7DFB-4CB6-92C1-B7FD967E905D}" type="sibTrans" cxnId="{1575C7C7-A209-481F-8B72-D0BAA8849A1C}">
      <dgm:prSet/>
      <dgm:spPr/>
      <dgm:t>
        <a:bodyPr/>
        <a:lstStyle/>
        <a:p>
          <a:endParaRPr lang="en-IN"/>
        </a:p>
      </dgm:t>
    </dgm:pt>
    <dgm:pt modelId="{C05CF9E1-0F1E-4450-A278-1D150608C8F9}">
      <dgm:prSet/>
      <dgm:spPr/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ople Worked</a:t>
          </a:r>
          <a:endParaRPr lang="en-US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37781D0-1839-4AA4-BAD9-412123D8F554}" type="parTrans" cxnId="{ECAF49B9-D7E1-4004-B9ED-1EE61DA02DBE}">
      <dgm:prSet/>
      <dgm:spPr/>
      <dgm:t>
        <a:bodyPr/>
        <a:lstStyle/>
        <a:p>
          <a:endParaRPr lang="en-IN"/>
        </a:p>
      </dgm:t>
    </dgm:pt>
    <dgm:pt modelId="{077FC88A-5214-4CCE-BE8D-CAD6C9ACF23A}" type="sibTrans" cxnId="{ECAF49B9-D7E1-4004-B9ED-1EE61DA02DBE}">
      <dgm:prSet/>
      <dgm:spPr/>
      <dgm:t>
        <a:bodyPr/>
        <a:lstStyle/>
        <a:p>
          <a:endParaRPr lang="en-IN"/>
        </a:p>
      </dgm:t>
    </dgm:pt>
    <dgm:pt modelId="{BD3A6867-330A-465F-891D-DEF299E0203C}">
      <dgm:prSet/>
      <dgm:spPr/>
      <dgm:t>
        <a:bodyPr/>
        <a:lstStyle/>
        <a:p>
          <a:pPr algn="l"/>
          <a:endParaRPr lang="en-US" sz="1900" dirty="0" smtClean="0">
            <a:solidFill>
              <a:schemeClr val="tx1"/>
            </a:solidFill>
          </a:endParaRPr>
        </a:p>
      </dgm:t>
    </dgm:pt>
    <dgm:pt modelId="{BA5874AF-1B05-430E-802B-6DFD7CDC76DF}" type="parTrans" cxnId="{68430AD4-1717-499F-BC59-F51E9A57B128}">
      <dgm:prSet/>
      <dgm:spPr/>
      <dgm:t>
        <a:bodyPr/>
        <a:lstStyle/>
        <a:p>
          <a:endParaRPr lang="en-IN"/>
        </a:p>
      </dgm:t>
    </dgm:pt>
    <dgm:pt modelId="{CBF1C5BB-D727-4B52-82EF-47BA2877A4A3}" type="sibTrans" cxnId="{68430AD4-1717-499F-BC59-F51E9A57B128}">
      <dgm:prSet/>
      <dgm:spPr/>
      <dgm:t>
        <a:bodyPr/>
        <a:lstStyle/>
        <a:p>
          <a:endParaRPr lang="en-IN"/>
        </a:p>
      </dgm:t>
    </dgm:pt>
    <dgm:pt modelId="{7669B19A-32B5-42CE-8C91-AAE7EA7B46CE}">
      <dgm:prSet custT="1"/>
      <dgm:spPr/>
      <dgm:t>
        <a:bodyPr/>
        <a:lstStyle/>
        <a:p>
          <a:pPr algn="just"/>
          <a:r>
            <a:rPr lang="en-US" sz="2000" dirty="0" smtClean="0">
              <a:solidFill>
                <a:schemeClr val="tx1"/>
              </a:solidFill>
            </a:rPr>
            <a:t>No. of People worked in this project = 8</a:t>
          </a:r>
          <a:endParaRPr lang="en-US" sz="2000" dirty="0" smtClean="0">
            <a:solidFill>
              <a:schemeClr val="tx1"/>
            </a:solidFill>
          </a:endParaRPr>
        </a:p>
      </dgm:t>
    </dgm:pt>
    <dgm:pt modelId="{855FD110-A4D5-4DA3-815B-7579D1BEA635}" type="parTrans" cxnId="{2C4250EE-31FD-462C-B3BE-CCD5579AB979}">
      <dgm:prSet/>
      <dgm:spPr/>
      <dgm:t>
        <a:bodyPr/>
        <a:lstStyle/>
        <a:p>
          <a:endParaRPr lang="en-IN"/>
        </a:p>
      </dgm:t>
    </dgm:pt>
    <dgm:pt modelId="{2F26271F-7B61-4569-B40A-1B5F73A134CA}" type="sibTrans" cxnId="{2C4250EE-31FD-462C-B3BE-CCD5579AB979}">
      <dgm:prSet/>
      <dgm:spPr/>
      <dgm:t>
        <a:bodyPr/>
        <a:lstStyle/>
        <a:p>
          <a:endParaRPr lang="en-IN"/>
        </a:p>
      </dgm:t>
    </dgm:pt>
    <dgm:pt modelId="{37D2CD85-6FFC-4414-BDB8-680C407818C5}" type="pres">
      <dgm:prSet presAssocID="{FE171A7E-91DF-4B30-919D-76CA851F4213}" presName="Name0" presStyleCnt="0">
        <dgm:presLayoutVars>
          <dgm:dir/>
          <dgm:animLvl val="lvl"/>
          <dgm:resizeHandles val="exact"/>
        </dgm:presLayoutVars>
      </dgm:prSet>
      <dgm:spPr/>
    </dgm:pt>
    <dgm:pt modelId="{516DAB1C-3192-4D8F-B8FD-7B9FAC6D5389}" type="pres">
      <dgm:prSet presAssocID="{E928103B-7575-4AA7-A281-79D6D7929B68}" presName="linNode" presStyleCnt="0"/>
      <dgm:spPr/>
    </dgm:pt>
    <dgm:pt modelId="{AF6488DF-54B6-48A0-B86F-06EB924F036D}" type="pres">
      <dgm:prSet presAssocID="{E928103B-7575-4AA7-A281-79D6D7929B68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81763AF-6CE4-42E5-A3F9-01A81FD26573}" type="pres">
      <dgm:prSet presAssocID="{E928103B-7575-4AA7-A281-79D6D7929B68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FDE35D4-E3C8-4927-8184-2E4B40101C50}" type="pres">
      <dgm:prSet presAssocID="{4CD51525-FF3D-4C0A-9EFC-8DBCB6C02014}" presName="sp" presStyleCnt="0"/>
      <dgm:spPr/>
    </dgm:pt>
    <dgm:pt modelId="{61CCB73C-2CDA-46A0-8E1A-F9D4AA140B4C}" type="pres">
      <dgm:prSet presAssocID="{EFCEA9DF-59FC-480C-9881-9657FFABF678}" presName="linNode" presStyleCnt="0"/>
      <dgm:spPr/>
    </dgm:pt>
    <dgm:pt modelId="{E77A814A-781A-4E8C-AF49-01F5F5EADCF5}" type="pres">
      <dgm:prSet presAssocID="{EFCEA9DF-59FC-480C-9881-9657FFABF678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E6F467F-A1B5-4F4C-AEA1-EB4EAA7B2FB8}" type="pres">
      <dgm:prSet presAssocID="{EFCEA9DF-59FC-480C-9881-9657FFABF678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F8F830F-C525-4328-B4C1-C68D698BF6F2}" type="pres">
      <dgm:prSet presAssocID="{4C290477-5DA4-4F6E-9CF7-3BF18969227B}" presName="sp" presStyleCnt="0"/>
      <dgm:spPr/>
    </dgm:pt>
    <dgm:pt modelId="{6F417D04-BF8D-48B1-8EB8-1645F0CFD7C9}" type="pres">
      <dgm:prSet presAssocID="{900C107E-31F7-4207-B685-76F58F4B568D}" presName="linNode" presStyleCnt="0"/>
      <dgm:spPr/>
    </dgm:pt>
    <dgm:pt modelId="{A173352F-4768-4365-81FC-744761B6F98E}" type="pres">
      <dgm:prSet presAssocID="{900C107E-31F7-4207-B685-76F58F4B568D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E2578E8-C3FF-434E-BC41-1E814ACF1641}" type="pres">
      <dgm:prSet presAssocID="{900C107E-31F7-4207-B685-76F58F4B568D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DB6FC61-E5E8-4236-88F7-7C9B8A3B1AD4}" type="pres">
      <dgm:prSet presAssocID="{664EDC85-2E2D-4C39-AE83-0566BE7C0760}" presName="sp" presStyleCnt="0"/>
      <dgm:spPr/>
    </dgm:pt>
    <dgm:pt modelId="{CF16A8AE-4881-41E5-9877-E82F13371BA9}" type="pres">
      <dgm:prSet presAssocID="{C05CF9E1-0F1E-4450-A278-1D150608C8F9}" presName="linNode" presStyleCnt="0"/>
      <dgm:spPr/>
    </dgm:pt>
    <dgm:pt modelId="{D6694317-89BC-48A3-B9A8-7A1077B01DC2}" type="pres">
      <dgm:prSet presAssocID="{C05CF9E1-0F1E-4450-A278-1D150608C8F9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031D6E7-1774-4A4C-8097-DE62DC4D3532}" type="pres">
      <dgm:prSet presAssocID="{C05CF9E1-0F1E-4450-A278-1D150608C8F9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3EDBB300-9413-4277-930F-3B52B239AFB8}" type="presOf" srcId="{900C107E-31F7-4207-B685-76F58F4B568D}" destId="{A173352F-4768-4365-81FC-744761B6F98E}" srcOrd="0" destOrd="0" presId="urn:microsoft.com/office/officeart/2005/8/layout/vList5"/>
    <dgm:cxn modelId="{485CAC6A-CBAB-41A1-9E57-1BDEA95225FB}" type="presOf" srcId="{8077EDF5-1622-4739-AE12-F181F12C815C}" destId="{B81763AF-6CE4-42E5-A3F9-01A81FD26573}" srcOrd="0" destOrd="1" presId="urn:microsoft.com/office/officeart/2005/8/layout/vList5"/>
    <dgm:cxn modelId="{1E00C722-C11D-4338-AD7E-AEB65EF88FDC}" type="presOf" srcId="{BD3A6867-330A-465F-891D-DEF299E0203C}" destId="{3031D6E7-1774-4A4C-8097-DE62DC4D3532}" srcOrd="0" destOrd="0" presId="urn:microsoft.com/office/officeart/2005/8/layout/vList5"/>
    <dgm:cxn modelId="{9C50D720-C750-4B0A-97A4-4736864912B6}" srcId="{E928103B-7575-4AA7-A281-79D6D7929B68}" destId="{8077EDF5-1622-4739-AE12-F181F12C815C}" srcOrd="1" destOrd="0" parTransId="{3B49F02D-F5AB-4B5F-BBFB-ECA1DA22B2A4}" sibTransId="{39F92548-60F0-466C-91DF-7C8E4453425A}"/>
    <dgm:cxn modelId="{ECAF49B9-D7E1-4004-B9ED-1EE61DA02DBE}" srcId="{FE171A7E-91DF-4B30-919D-76CA851F4213}" destId="{C05CF9E1-0F1E-4450-A278-1D150608C8F9}" srcOrd="3" destOrd="0" parTransId="{237781D0-1839-4AA4-BAD9-412123D8F554}" sibTransId="{077FC88A-5214-4CCE-BE8D-CAD6C9ACF23A}"/>
    <dgm:cxn modelId="{6ADA2798-ACEE-4475-8968-4C556890DB61}" srcId="{FE171A7E-91DF-4B30-919D-76CA851F4213}" destId="{E928103B-7575-4AA7-A281-79D6D7929B68}" srcOrd="0" destOrd="0" parTransId="{4712C4D4-88F2-4123-9A28-8C13A7A5A81F}" sibTransId="{4CD51525-FF3D-4C0A-9EFC-8DBCB6C02014}"/>
    <dgm:cxn modelId="{09B039BF-B13D-42A7-AD03-75CA42A849CD}" type="presOf" srcId="{718FB375-4DE4-43D9-AE42-87F35607F31B}" destId="{8E2578E8-C3FF-434E-BC41-1E814ACF1641}" srcOrd="0" destOrd="0" presId="urn:microsoft.com/office/officeart/2005/8/layout/vList5"/>
    <dgm:cxn modelId="{24487745-52AE-466C-9465-094FDCDD2663}" srcId="{EFCEA9DF-59FC-480C-9881-9657FFABF678}" destId="{7FD93279-0E92-4B53-8579-7C5F9F201FE8}" srcOrd="0" destOrd="0" parTransId="{29CE8C63-E187-4FDC-99D3-CCC2D6606345}" sibTransId="{5538A195-2D1C-4037-9871-2D03E4E92AF8}"/>
    <dgm:cxn modelId="{F7B25038-C0F8-4228-8A91-C18909721946}" type="presOf" srcId="{C3DE2CA7-1B4A-4C82-A157-9C1A020BFA99}" destId="{B81763AF-6CE4-42E5-A3F9-01A81FD26573}" srcOrd="0" destOrd="0" presId="urn:microsoft.com/office/officeart/2005/8/layout/vList5"/>
    <dgm:cxn modelId="{2C4250EE-31FD-462C-B3BE-CCD5579AB979}" srcId="{C05CF9E1-0F1E-4450-A278-1D150608C8F9}" destId="{7669B19A-32B5-42CE-8C91-AAE7EA7B46CE}" srcOrd="1" destOrd="0" parTransId="{855FD110-A4D5-4DA3-815B-7579D1BEA635}" sibTransId="{2F26271F-7B61-4569-B40A-1B5F73A134CA}"/>
    <dgm:cxn modelId="{0B920882-EE44-4683-9F3D-64A3D79354F9}" type="presOf" srcId="{E928103B-7575-4AA7-A281-79D6D7929B68}" destId="{AF6488DF-54B6-48A0-B86F-06EB924F036D}" srcOrd="0" destOrd="0" presId="urn:microsoft.com/office/officeart/2005/8/layout/vList5"/>
    <dgm:cxn modelId="{7560D2E2-E6E8-4B3C-8DE1-EEB1A4163EE1}" type="presOf" srcId="{FB8A7707-BF99-4133-BBCD-E8B5D709E91A}" destId="{B81763AF-6CE4-42E5-A3F9-01A81FD26573}" srcOrd="0" destOrd="2" presId="urn:microsoft.com/office/officeart/2005/8/layout/vList5"/>
    <dgm:cxn modelId="{D01D9A80-3DEB-4C87-B25B-BA97406CBD25}" type="presOf" srcId="{7669B19A-32B5-42CE-8C91-AAE7EA7B46CE}" destId="{3031D6E7-1774-4A4C-8097-DE62DC4D3532}" srcOrd="0" destOrd="1" presId="urn:microsoft.com/office/officeart/2005/8/layout/vList5"/>
    <dgm:cxn modelId="{68430AD4-1717-499F-BC59-F51E9A57B128}" srcId="{C05CF9E1-0F1E-4450-A278-1D150608C8F9}" destId="{BD3A6867-330A-465F-891D-DEF299E0203C}" srcOrd="0" destOrd="0" parTransId="{BA5874AF-1B05-430E-802B-6DFD7CDC76DF}" sibTransId="{CBF1C5BB-D727-4B52-82EF-47BA2877A4A3}"/>
    <dgm:cxn modelId="{B0F4810F-BBAF-45D8-881F-82BF5FDF38B2}" type="presOf" srcId="{EFCEA9DF-59FC-480C-9881-9657FFABF678}" destId="{E77A814A-781A-4E8C-AF49-01F5F5EADCF5}" srcOrd="0" destOrd="0" presId="urn:microsoft.com/office/officeart/2005/8/layout/vList5"/>
    <dgm:cxn modelId="{62C0EDDA-9BAF-4D84-B6F1-0F0E57C7BD9F}" srcId="{E928103B-7575-4AA7-A281-79D6D7929B68}" destId="{C3DE2CA7-1B4A-4C82-A157-9C1A020BFA99}" srcOrd="0" destOrd="0" parTransId="{423E2522-9CDE-425C-936D-9F64938E4DAC}" sibTransId="{289891B5-7EFD-471D-B27D-FF7AE93FEA11}"/>
    <dgm:cxn modelId="{A70344E5-34A1-46F9-A218-94E1F2C5C082}" type="presOf" srcId="{FE171A7E-91DF-4B30-919D-76CA851F4213}" destId="{37D2CD85-6FFC-4414-BDB8-680C407818C5}" srcOrd="0" destOrd="0" presId="urn:microsoft.com/office/officeart/2005/8/layout/vList5"/>
    <dgm:cxn modelId="{95B7108A-5E0A-407D-91FC-E25EFE598550}" srcId="{FE171A7E-91DF-4B30-919D-76CA851F4213}" destId="{900C107E-31F7-4207-B685-76F58F4B568D}" srcOrd="2" destOrd="0" parTransId="{F03EF3E9-B15F-4FAD-A442-D9641674B22E}" sibTransId="{664EDC85-2E2D-4C39-AE83-0566BE7C0760}"/>
    <dgm:cxn modelId="{231D4A0E-1ADA-4DD5-B9ED-8D83461F9365}" srcId="{FE171A7E-91DF-4B30-919D-76CA851F4213}" destId="{EFCEA9DF-59FC-480C-9881-9657FFABF678}" srcOrd="1" destOrd="0" parTransId="{342B3B31-D2FB-40A7-8A1E-A6ACF950BF0D}" sibTransId="{4C290477-5DA4-4F6E-9CF7-3BF18969227B}"/>
    <dgm:cxn modelId="{4A7AED69-52B0-4BC8-8EA9-3C44FE4EE662}" type="presOf" srcId="{7FD93279-0E92-4B53-8579-7C5F9F201FE8}" destId="{1E6F467F-A1B5-4F4C-AEA1-EB4EAA7B2FB8}" srcOrd="0" destOrd="0" presId="urn:microsoft.com/office/officeart/2005/8/layout/vList5"/>
    <dgm:cxn modelId="{7FC6E65E-122D-4110-9228-DACA779C6DCD}" srcId="{900C107E-31F7-4207-B685-76F58F4B568D}" destId="{718FB375-4DE4-43D9-AE42-87F35607F31B}" srcOrd="0" destOrd="0" parTransId="{99B8AB93-3EC5-4C3D-A9FC-89BBB33E0E12}" sibTransId="{C1DBEA3F-75DA-4496-90F3-4AD818FD89C5}"/>
    <dgm:cxn modelId="{1575C7C7-A209-481F-8B72-D0BAA8849A1C}" srcId="{E928103B-7575-4AA7-A281-79D6D7929B68}" destId="{FB8A7707-BF99-4133-BBCD-E8B5D709E91A}" srcOrd="2" destOrd="0" parTransId="{D3AC3B37-3F06-4E5C-B921-C78AD4215CC8}" sibTransId="{1CF647AA-7DFB-4CB6-92C1-B7FD967E905D}"/>
    <dgm:cxn modelId="{EA038D26-25CD-417E-AFFA-BA5CED4AFFE9}" type="presOf" srcId="{C05CF9E1-0F1E-4450-A278-1D150608C8F9}" destId="{D6694317-89BC-48A3-B9A8-7A1077B01DC2}" srcOrd="0" destOrd="0" presId="urn:microsoft.com/office/officeart/2005/8/layout/vList5"/>
    <dgm:cxn modelId="{63B08119-542A-4A48-A612-7F2D2EEF51AF}" type="presParOf" srcId="{37D2CD85-6FFC-4414-BDB8-680C407818C5}" destId="{516DAB1C-3192-4D8F-B8FD-7B9FAC6D5389}" srcOrd="0" destOrd="0" presId="urn:microsoft.com/office/officeart/2005/8/layout/vList5"/>
    <dgm:cxn modelId="{EA5A4240-5650-4FB1-B611-D237F81A929C}" type="presParOf" srcId="{516DAB1C-3192-4D8F-B8FD-7B9FAC6D5389}" destId="{AF6488DF-54B6-48A0-B86F-06EB924F036D}" srcOrd="0" destOrd="0" presId="urn:microsoft.com/office/officeart/2005/8/layout/vList5"/>
    <dgm:cxn modelId="{E99088AB-A103-4C0F-AA00-8C0521A4F90C}" type="presParOf" srcId="{516DAB1C-3192-4D8F-B8FD-7B9FAC6D5389}" destId="{B81763AF-6CE4-42E5-A3F9-01A81FD26573}" srcOrd="1" destOrd="0" presId="urn:microsoft.com/office/officeart/2005/8/layout/vList5"/>
    <dgm:cxn modelId="{80EE06C2-51C4-444B-BA4A-29045FD67C1D}" type="presParOf" srcId="{37D2CD85-6FFC-4414-BDB8-680C407818C5}" destId="{3FDE35D4-E3C8-4927-8184-2E4B40101C50}" srcOrd="1" destOrd="0" presId="urn:microsoft.com/office/officeart/2005/8/layout/vList5"/>
    <dgm:cxn modelId="{5ACF7B9E-3D5F-40AB-AA89-316373A640D7}" type="presParOf" srcId="{37D2CD85-6FFC-4414-BDB8-680C407818C5}" destId="{61CCB73C-2CDA-46A0-8E1A-F9D4AA140B4C}" srcOrd="2" destOrd="0" presId="urn:microsoft.com/office/officeart/2005/8/layout/vList5"/>
    <dgm:cxn modelId="{4D213630-D650-4292-AB82-520DA6DD008A}" type="presParOf" srcId="{61CCB73C-2CDA-46A0-8E1A-F9D4AA140B4C}" destId="{E77A814A-781A-4E8C-AF49-01F5F5EADCF5}" srcOrd="0" destOrd="0" presId="urn:microsoft.com/office/officeart/2005/8/layout/vList5"/>
    <dgm:cxn modelId="{8F9DB017-964B-4487-9489-18C4CD2EE15F}" type="presParOf" srcId="{61CCB73C-2CDA-46A0-8E1A-F9D4AA140B4C}" destId="{1E6F467F-A1B5-4F4C-AEA1-EB4EAA7B2FB8}" srcOrd="1" destOrd="0" presId="urn:microsoft.com/office/officeart/2005/8/layout/vList5"/>
    <dgm:cxn modelId="{C36B1D80-E0AD-4B1C-9B68-E628EB51DAB4}" type="presParOf" srcId="{37D2CD85-6FFC-4414-BDB8-680C407818C5}" destId="{CF8F830F-C525-4328-B4C1-C68D698BF6F2}" srcOrd="3" destOrd="0" presId="urn:microsoft.com/office/officeart/2005/8/layout/vList5"/>
    <dgm:cxn modelId="{6E7F02C1-D98F-493A-B822-895BDE5A4F7B}" type="presParOf" srcId="{37D2CD85-6FFC-4414-BDB8-680C407818C5}" destId="{6F417D04-BF8D-48B1-8EB8-1645F0CFD7C9}" srcOrd="4" destOrd="0" presId="urn:microsoft.com/office/officeart/2005/8/layout/vList5"/>
    <dgm:cxn modelId="{D794D91F-1DF2-4B36-914B-4EDFA343E848}" type="presParOf" srcId="{6F417D04-BF8D-48B1-8EB8-1645F0CFD7C9}" destId="{A173352F-4768-4365-81FC-744761B6F98E}" srcOrd="0" destOrd="0" presId="urn:microsoft.com/office/officeart/2005/8/layout/vList5"/>
    <dgm:cxn modelId="{1B76FFC0-7678-41B2-AED1-5A5302376AD2}" type="presParOf" srcId="{6F417D04-BF8D-48B1-8EB8-1645F0CFD7C9}" destId="{8E2578E8-C3FF-434E-BC41-1E814ACF1641}" srcOrd="1" destOrd="0" presId="urn:microsoft.com/office/officeart/2005/8/layout/vList5"/>
    <dgm:cxn modelId="{EEDB5DB5-6D15-4CB6-B181-C49A6A4F3D6D}" type="presParOf" srcId="{37D2CD85-6FFC-4414-BDB8-680C407818C5}" destId="{4DB6FC61-E5E8-4236-88F7-7C9B8A3B1AD4}" srcOrd="5" destOrd="0" presId="urn:microsoft.com/office/officeart/2005/8/layout/vList5"/>
    <dgm:cxn modelId="{88CF1E4E-37D4-443B-A60D-4C9368038293}" type="presParOf" srcId="{37D2CD85-6FFC-4414-BDB8-680C407818C5}" destId="{CF16A8AE-4881-41E5-9877-E82F13371BA9}" srcOrd="6" destOrd="0" presId="urn:microsoft.com/office/officeart/2005/8/layout/vList5"/>
    <dgm:cxn modelId="{C4BFC4B0-499D-448F-A7A9-9EDC5A5BABF0}" type="presParOf" srcId="{CF16A8AE-4881-41E5-9877-E82F13371BA9}" destId="{D6694317-89BC-48A3-B9A8-7A1077B01DC2}" srcOrd="0" destOrd="0" presId="urn:microsoft.com/office/officeart/2005/8/layout/vList5"/>
    <dgm:cxn modelId="{E46BB64A-5E55-4212-8A9C-D2A705D4E45C}" type="presParOf" srcId="{CF16A8AE-4881-41E5-9877-E82F13371BA9}" destId="{3031D6E7-1774-4A4C-8097-DE62DC4D3532}" srcOrd="1" destOrd="0" presId="urn:microsoft.com/office/officeart/2005/8/layout/vList5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CC9537-BBDC-4A80-98AC-317BE75D2A81}">
      <dsp:nvSpPr>
        <dsp:cNvPr id="0" name=""/>
        <dsp:cNvSpPr/>
      </dsp:nvSpPr>
      <dsp:spPr>
        <a:xfrm>
          <a:off x="0" y="75635"/>
          <a:ext cx="1842120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Admin</a:t>
          </a:r>
          <a:endParaRPr lang="en-US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75635"/>
        <a:ext cx="1842120" cy="1287000"/>
      </dsp:txXfrm>
    </dsp:sp>
    <dsp:sp modelId="{91B66772-1931-47FC-BC04-4C54ECB81AC2}">
      <dsp:nvSpPr>
        <dsp:cNvPr id="0" name=""/>
        <dsp:cNvSpPr/>
      </dsp:nvSpPr>
      <dsp:spPr>
        <a:xfrm>
          <a:off x="1842119" y="360043"/>
          <a:ext cx="368424" cy="718184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6CA33C-C8EA-4420-8555-DD7C1E9E112F}">
      <dsp:nvSpPr>
        <dsp:cNvPr id="0" name=""/>
        <dsp:cNvSpPr/>
      </dsp:nvSpPr>
      <dsp:spPr>
        <a:xfrm>
          <a:off x="2357913" y="430159"/>
          <a:ext cx="5010566" cy="5779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1" action="ppaction://hlinkfile"/>
            </a:rPr>
            <a:t>Login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7913" y="430159"/>
        <a:ext cx="5010566" cy="577953"/>
      </dsp:txXfrm>
    </dsp:sp>
    <dsp:sp modelId="{79FC20CB-ACD8-4964-AF4B-C23194381537}">
      <dsp:nvSpPr>
        <dsp:cNvPr id="0" name=""/>
        <dsp:cNvSpPr/>
      </dsp:nvSpPr>
      <dsp:spPr>
        <a:xfrm>
          <a:off x="0" y="1596636"/>
          <a:ext cx="1842120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xecutive</a:t>
          </a:r>
        </a:p>
      </dsp:txBody>
      <dsp:txXfrm>
        <a:off x="0" y="1596636"/>
        <a:ext cx="1842120" cy="1287000"/>
      </dsp:txXfrm>
    </dsp:sp>
    <dsp:sp modelId="{EFC943E8-45AF-48E4-81CA-FA2AA67783DF}">
      <dsp:nvSpPr>
        <dsp:cNvPr id="0" name=""/>
        <dsp:cNvSpPr/>
      </dsp:nvSpPr>
      <dsp:spPr>
        <a:xfrm>
          <a:off x="1842119" y="1596636"/>
          <a:ext cx="368424" cy="12870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35160-9DBB-4A42-8005-00E3F38AB427}">
      <dsp:nvSpPr>
        <dsp:cNvPr id="0" name=""/>
        <dsp:cNvSpPr/>
      </dsp:nvSpPr>
      <dsp:spPr>
        <a:xfrm>
          <a:off x="2357913" y="1596636"/>
          <a:ext cx="5010566" cy="1287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2" action="ppaction://hlinkfile"/>
            </a:rPr>
            <a:t>Login</a:t>
          </a:r>
          <a:endParaRPr lang="en-US" sz="2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 action="ppaction://hlinkfile"/>
            </a:rPr>
            <a:t>View Flights Acc. To Period</a:t>
          </a:r>
          <a:endParaRPr lang="en-US" sz="2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3" action="ppaction://hlinkfile"/>
            </a:rPr>
            <a:t>View Flights Acc. To Place</a:t>
          </a:r>
          <a:endParaRPr lang="en-US" sz="2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7913" y="1596636"/>
        <a:ext cx="5010566" cy="1287000"/>
      </dsp:txXfrm>
    </dsp:sp>
    <dsp:sp modelId="{B5D16947-6D9A-46BA-9A03-4AE0716FB504}">
      <dsp:nvSpPr>
        <dsp:cNvPr id="0" name=""/>
        <dsp:cNvSpPr/>
      </dsp:nvSpPr>
      <dsp:spPr>
        <a:xfrm>
          <a:off x="0" y="3117636"/>
          <a:ext cx="1842120" cy="1287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60960" rIns="170688" bIns="6096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ser</a:t>
          </a:r>
        </a:p>
      </dsp:txBody>
      <dsp:txXfrm>
        <a:off x="0" y="3117636"/>
        <a:ext cx="1842120" cy="1287000"/>
      </dsp:txXfrm>
    </dsp:sp>
    <dsp:sp modelId="{D33226F5-0707-4836-8677-92C1198C943A}">
      <dsp:nvSpPr>
        <dsp:cNvPr id="0" name=""/>
        <dsp:cNvSpPr/>
      </dsp:nvSpPr>
      <dsp:spPr>
        <a:xfrm>
          <a:off x="1842119" y="3117636"/>
          <a:ext cx="368424" cy="12870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A27EE7-5ACB-4B9D-A1B7-E01006D53F16}">
      <dsp:nvSpPr>
        <dsp:cNvPr id="0" name=""/>
        <dsp:cNvSpPr/>
      </dsp:nvSpPr>
      <dsp:spPr>
        <a:xfrm>
          <a:off x="2357913" y="3117636"/>
          <a:ext cx="5010566" cy="1287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View Flight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4" action="ppaction://hlinkfile"/>
            </a:rPr>
            <a:t>Book Flights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  <a:hlinkClick xmlns:r="http://schemas.openxmlformats.org/officeDocument/2006/relationships" r:id="rId5" action="ppaction://hlinkfile"/>
            </a:rPr>
            <a:t>Contact</a:t>
          </a:r>
          <a:endParaRPr lang="en-US" sz="2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7913" y="3117636"/>
        <a:ext cx="5010566" cy="1287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546A22-1A49-432E-9B7E-F9E7CDC8AF04}">
      <dsp:nvSpPr>
        <dsp:cNvPr id="0" name=""/>
        <dsp:cNvSpPr/>
      </dsp:nvSpPr>
      <dsp:spPr>
        <a:xfrm>
          <a:off x="2381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ecurity</a:t>
          </a:r>
          <a:endParaRPr lang="en-US" sz="2400" kern="1200" dirty="0"/>
        </a:p>
      </dsp:txBody>
      <dsp:txXfrm>
        <a:off x="2381" y="202247"/>
        <a:ext cx="2035329" cy="814131"/>
      </dsp:txXfrm>
    </dsp:sp>
    <dsp:sp modelId="{7E436A43-9093-49AE-AD26-C4180CEAE8AF}">
      <dsp:nvSpPr>
        <dsp:cNvPr id="0" name=""/>
        <dsp:cNvSpPr/>
      </dsp:nvSpPr>
      <dsp:spPr>
        <a:xfrm>
          <a:off x="2381" y="1016379"/>
          <a:ext cx="2035329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Login, Logout and Payment </a:t>
          </a:r>
          <a:endParaRPr lang="en-US" sz="2200" kern="1200" dirty="0"/>
        </a:p>
      </dsp:txBody>
      <dsp:txXfrm>
        <a:off x="2381" y="1016379"/>
        <a:ext cx="2035329" cy="2854800"/>
      </dsp:txXfrm>
    </dsp:sp>
    <dsp:sp modelId="{5E1FFD8F-9FC5-4274-B4AD-BB87847435F1}">
      <dsp:nvSpPr>
        <dsp:cNvPr id="0" name=""/>
        <dsp:cNvSpPr/>
      </dsp:nvSpPr>
      <dsp:spPr>
        <a:xfrm>
          <a:off x="2407845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xplicit</a:t>
          </a:r>
          <a:endParaRPr lang="en-US" sz="2400" kern="1200" dirty="0"/>
        </a:p>
      </dsp:txBody>
      <dsp:txXfrm>
        <a:off x="2407845" y="202247"/>
        <a:ext cx="2035329" cy="814131"/>
      </dsp:txXfrm>
    </dsp:sp>
    <dsp:sp modelId="{81B67AD1-B1A5-4AFB-9478-251794252329}">
      <dsp:nvSpPr>
        <dsp:cNvPr id="0" name=""/>
        <dsp:cNvSpPr/>
      </dsp:nvSpPr>
      <dsp:spPr>
        <a:xfrm>
          <a:off x="2322657" y="1016379"/>
          <a:ext cx="2205706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all function mention in Requirement sheet</a:t>
          </a:r>
          <a:endParaRPr lang="en-US" sz="2200" kern="1200" dirty="0"/>
        </a:p>
      </dsp:txBody>
      <dsp:txXfrm>
        <a:off x="2322657" y="1016379"/>
        <a:ext cx="2205706" cy="2854800"/>
      </dsp:txXfrm>
    </dsp:sp>
    <dsp:sp modelId="{0303B377-B53B-4CA7-A834-4ACA980B0375}">
      <dsp:nvSpPr>
        <dsp:cNvPr id="0" name=""/>
        <dsp:cNvSpPr/>
      </dsp:nvSpPr>
      <dsp:spPr>
        <a:xfrm>
          <a:off x="4813309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4813309" y="202247"/>
        <a:ext cx="2035329" cy="814131"/>
      </dsp:txXfrm>
    </dsp:sp>
    <dsp:sp modelId="{617864DE-67AF-4291-8BB2-8C988F494B69}">
      <dsp:nvSpPr>
        <dsp:cNvPr id="0" name=""/>
        <dsp:cNvSpPr/>
      </dsp:nvSpPr>
      <dsp:spPr>
        <a:xfrm>
          <a:off x="4813309" y="1016379"/>
          <a:ext cx="2035329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some common  function implemented by Developer itself</a:t>
          </a:r>
          <a:endParaRPr lang="en-US" sz="2200" kern="1200" dirty="0"/>
        </a:p>
      </dsp:txBody>
      <dsp:txXfrm>
        <a:off x="4813309" y="1016379"/>
        <a:ext cx="2035329" cy="2854800"/>
      </dsp:txXfrm>
    </dsp:sp>
    <dsp:sp modelId="{2EB4AFF4-3C49-41B8-BB9F-8881DC6E348C}">
      <dsp:nvSpPr>
        <dsp:cNvPr id="0" name=""/>
        <dsp:cNvSpPr/>
      </dsp:nvSpPr>
      <dsp:spPr>
        <a:xfrm>
          <a:off x="7133584" y="202247"/>
          <a:ext cx="2035329" cy="8141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vocation</a:t>
          </a:r>
          <a:endParaRPr lang="en-US" sz="2400" kern="1200" dirty="0"/>
        </a:p>
      </dsp:txBody>
      <dsp:txXfrm>
        <a:off x="7133584" y="202247"/>
        <a:ext cx="2035329" cy="814131"/>
      </dsp:txXfrm>
    </dsp:sp>
    <dsp:sp modelId="{F24F8D1F-9DA5-4C50-B2A7-8EF1BAEE2479}">
      <dsp:nvSpPr>
        <dsp:cNvPr id="0" name=""/>
        <dsp:cNvSpPr/>
      </dsp:nvSpPr>
      <dsp:spPr>
        <a:xfrm>
          <a:off x="7133584" y="1016379"/>
          <a:ext cx="2035329" cy="285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method by which application can be invoked</a:t>
          </a:r>
          <a:endParaRPr lang="en-US" sz="2200" kern="1200" dirty="0"/>
        </a:p>
      </dsp:txBody>
      <dsp:txXfrm>
        <a:off x="7133584" y="1016379"/>
        <a:ext cx="2035329" cy="2854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546A22-1A49-432E-9B7E-F9E7CDC8AF04}">
      <dsp:nvSpPr>
        <dsp:cNvPr id="0" name=""/>
        <dsp:cNvSpPr/>
      </dsp:nvSpPr>
      <dsp:spPr>
        <a:xfrm>
          <a:off x="10403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ermination</a:t>
          </a:r>
          <a:endParaRPr lang="en-US" sz="2400" kern="1200" dirty="0"/>
        </a:p>
      </dsp:txBody>
      <dsp:txXfrm>
        <a:off x="10403" y="545305"/>
        <a:ext cx="1626972" cy="650788"/>
      </dsp:txXfrm>
    </dsp:sp>
    <dsp:sp modelId="{7E436A43-9093-49AE-AD26-C4180CEAE8AF}">
      <dsp:nvSpPr>
        <dsp:cNvPr id="0" name=""/>
        <dsp:cNvSpPr/>
      </dsp:nvSpPr>
      <dsp:spPr>
        <a:xfrm>
          <a:off x="552" y="1196094"/>
          <a:ext cx="1646675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method by which application can be invoked</a:t>
          </a:r>
          <a:endParaRPr lang="en-US" sz="2200" kern="1200" dirty="0"/>
        </a:p>
      </dsp:txBody>
      <dsp:txXfrm>
        <a:off x="552" y="1196094"/>
        <a:ext cx="1646675" cy="2810880"/>
      </dsp:txXfrm>
    </dsp:sp>
    <dsp:sp modelId="{5E1FFD8F-9FC5-4274-B4AD-BB87847435F1}">
      <dsp:nvSpPr>
        <dsp:cNvPr id="0" name=""/>
        <dsp:cNvSpPr/>
      </dsp:nvSpPr>
      <dsp:spPr>
        <a:xfrm>
          <a:off x="1875003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ile Handling</a:t>
          </a:r>
          <a:endParaRPr lang="en-US" sz="2400" kern="1200" dirty="0"/>
        </a:p>
      </dsp:txBody>
      <dsp:txXfrm>
        <a:off x="1875003" y="545305"/>
        <a:ext cx="1626972" cy="650788"/>
      </dsp:txXfrm>
    </dsp:sp>
    <dsp:sp modelId="{81B67AD1-B1A5-4AFB-9478-251794252329}">
      <dsp:nvSpPr>
        <dsp:cNvPr id="0" name=""/>
        <dsp:cNvSpPr/>
      </dsp:nvSpPr>
      <dsp:spPr>
        <a:xfrm>
          <a:off x="1875003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storing of files in data base</a:t>
          </a:r>
          <a:endParaRPr lang="en-US" sz="2200" kern="1200" dirty="0"/>
        </a:p>
      </dsp:txBody>
      <dsp:txXfrm>
        <a:off x="1875003" y="1196094"/>
        <a:ext cx="1626972" cy="2810880"/>
      </dsp:txXfrm>
    </dsp:sp>
    <dsp:sp modelId="{E97D3944-02CA-4942-A8E3-D27DD6048404}">
      <dsp:nvSpPr>
        <dsp:cNvPr id="0" name=""/>
        <dsp:cNvSpPr/>
      </dsp:nvSpPr>
      <dsp:spPr>
        <a:xfrm>
          <a:off x="3729752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rror Handling</a:t>
          </a:r>
          <a:endParaRPr lang="en-US" sz="2400" kern="1200" dirty="0"/>
        </a:p>
      </dsp:txBody>
      <dsp:txXfrm>
        <a:off x="3729752" y="545305"/>
        <a:ext cx="1626972" cy="650788"/>
      </dsp:txXfrm>
    </dsp:sp>
    <dsp:sp modelId="{69EE0EBF-FA50-4797-9CC5-3D1D64C4999E}">
      <dsp:nvSpPr>
        <dsp:cNvPr id="0" name=""/>
        <dsp:cNvSpPr/>
      </dsp:nvSpPr>
      <dsp:spPr>
        <a:xfrm>
          <a:off x="3729752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possible error </a:t>
          </a:r>
          <a:endParaRPr lang="en-US" sz="2200" kern="1200" dirty="0"/>
        </a:p>
      </dsp:txBody>
      <dsp:txXfrm>
        <a:off x="3729752" y="1196094"/>
        <a:ext cx="1626972" cy="2810880"/>
      </dsp:txXfrm>
    </dsp:sp>
    <dsp:sp modelId="{7609486D-330B-4597-A36A-EB4167449D7E}">
      <dsp:nvSpPr>
        <dsp:cNvPr id="0" name=""/>
        <dsp:cNvSpPr/>
      </dsp:nvSpPr>
      <dsp:spPr>
        <a:xfrm>
          <a:off x="5584500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ystem</a:t>
          </a:r>
          <a:endParaRPr lang="en-US" sz="2400" kern="1200" dirty="0"/>
        </a:p>
      </dsp:txBody>
      <dsp:txXfrm>
        <a:off x="5584500" y="545305"/>
        <a:ext cx="1626972" cy="650788"/>
      </dsp:txXfrm>
    </dsp:sp>
    <dsp:sp modelId="{84CCB798-E11A-46ED-B715-A108E0F32590}">
      <dsp:nvSpPr>
        <dsp:cNvPr id="0" name=""/>
        <dsp:cNvSpPr/>
      </dsp:nvSpPr>
      <dsp:spPr>
        <a:xfrm>
          <a:off x="5584500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s the system requirements</a:t>
          </a:r>
          <a:endParaRPr lang="en-US" sz="2200" kern="1200" dirty="0"/>
        </a:p>
      </dsp:txBody>
      <dsp:txXfrm>
        <a:off x="5584500" y="1196094"/>
        <a:ext cx="1626972" cy="2810880"/>
      </dsp:txXfrm>
    </dsp:sp>
    <dsp:sp modelId="{E24150FB-D458-4E97-AC67-C1F5B5F02669}">
      <dsp:nvSpPr>
        <dsp:cNvPr id="0" name=""/>
        <dsp:cNvSpPr/>
      </dsp:nvSpPr>
      <dsp:spPr>
        <a:xfrm>
          <a:off x="7439249" y="545305"/>
          <a:ext cx="1626972" cy="6507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Query</a:t>
          </a:r>
          <a:endParaRPr lang="en-US" sz="2400" kern="1200" dirty="0"/>
        </a:p>
      </dsp:txBody>
      <dsp:txXfrm>
        <a:off x="7439249" y="545305"/>
        <a:ext cx="1626972" cy="650788"/>
      </dsp:txXfrm>
    </dsp:sp>
    <dsp:sp modelId="{84FD162B-BEE4-416C-8A0E-F2FBE1C8B011}">
      <dsp:nvSpPr>
        <dsp:cNvPr id="0" name=""/>
        <dsp:cNvSpPr/>
      </dsp:nvSpPr>
      <dsp:spPr>
        <a:xfrm>
          <a:off x="7439249" y="1196094"/>
          <a:ext cx="162697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It involve the things that need to be confirmed</a:t>
          </a:r>
          <a:endParaRPr lang="en-US" sz="2200" kern="1200" dirty="0"/>
        </a:p>
      </dsp:txBody>
      <dsp:txXfrm>
        <a:off x="7439249" y="1196094"/>
        <a:ext cx="1626972" cy="281088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B091FC-449E-4E23-AD4F-32F8682613A2}">
      <dsp:nvSpPr>
        <dsp:cNvPr id="0" name=""/>
        <dsp:cNvSpPr/>
      </dsp:nvSpPr>
      <dsp:spPr>
        <a:xfrm>
          <a:off x="0" y="14670"/>
          <a:ext cx="8363272" cy="2106234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2F3CE9-EA4B-49E1-8235-07A23D535239}">
      <dsp:nvSpPr>
        <dsp:cNvPr id="0" name=""/>
        <dsp:cNvSpPr/>
      </dsp:nvSpPr>
      <dsp:spPr>
        <a:xfrm>
          <a:off x="250898" y="331502"/>
          <a:ext cx="2456711" cy="154457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164D2AB-25D0-4E1D-AC08-EFEE6C03A650}">
      <dsp:nvSpPr>
        <dsp:cNvPr id="0" name=""/>
        <dsp:cNvSpPr/>
      </dsp:nvSpPr>
      <dsp:spPr>
        <a:xfrm rot="10800000">
          <a:off x="250898" y="2228908"/>
          <a:ext cx="2456711" cy="243028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View and Book Flights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Update Flights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Cancel Flights</a:t>
          </a:r>
          <a:endParaRPr lang="en-US" sz="2200" u="sng" kern="1200" dirty="0">
            <a:solidFill>
              <a:srgbClr val="0000FF"/>
            </a:solidFill>
          </a:endParaRPr>
        </a:p>
      </dsp:txBody>
      <dsp:txXfrm rot="10800000">
        <a:off x="325637" y="2228908"/>
        <a:ext cx="2307233" cy="2355541"/>
      </dsp:txXfrm>
    </dsp:sp>
    <dsp:sp modelId="{9924DA16-1332-409E-898D-BEDF058BAE03}">
      <dsp:nvSpPr>
        <dsp:cNvPr id="0" name=""/>
        <dsp:cNvSpPr/>
      </dsp:nvSpPr>
      <dsp:spPr>
        <a:xfrm>
          <a:off x="2953280" y="331502"/>
          <a:ext cx="2456711" cy="154457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CC63791-A81D-4163-AF62-C7250AF16B6A}">
      <dsp:nvSpPr>
        <dsp:cNvPr id="0" name=""/>
        <dsp:cNvSpPr/>
      </dsp:nvSpPr>
      <dsp:spPr>
        <a:xfrm rot="10800000">
          <a:off x="2953280" y="2228908"/>
          <a:ext cx="2456711" cy="2430280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Executive Login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View Flights based on Period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View Flights based on Place</a:t>
          </a:r>
          <a:endParaRPr lang="en-US" sz="2200" kern="1200" dirty="0"/>
        </a:p>
      </dsp:txBody>
      <dsp:txXfrm rot="10800000">
        <a:off x="3028019" y="2228908"/>
        <a:ext cx="2307233" cy="2355541"/>
      </dsp:txXfrm>
    </dsp:sp>
    <dsp:sp modelId="{75212FFE-6D3D-41A5-A15C-16AF40298BC2}">
      <dsp:nvSpPr>
        <dsp:cNvPr id="0" name=""/>
        <dsp:cNvSpPr/>
      </dsp:nvSpPr>
      <dsp:spPr>
        <a:xfrm>
          <a:off x="5655662" y="310971"/>
          <a:ext cx="2456711" cy="157231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694F1F1-A229-4202-846E-D19EFFF0EB0D}">
      <dsp:nvSpPr>
        <dsp:cNvPr id="0" name=""/>
        <dsp:cNvSpPr/>
      </dsp:nvSpPr>
      <dsp:spPr>
        <a:xfrm rot="10800000">
          <a:off x="5655662" y="2208925"/>
          <a:ext cx="2456711" cy="2456924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Admin Login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Update Flight Schedules and Flight info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u="sng" kern="1200" dirty="0" smtClean="0">
              <a:solidFill>
                <a:srgbClr val="0000FF"/>
              </a:solidFill>
            </a:rPr>
            <a:t>Generate Various Reports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 dirty="0"/>
        </a:p>
      </dsp:txBody>
      <dsp:txXfrm rot="10800000">
        <a:off x="5731214" y="2208925"/>
        <a:ext cx="2305607" cy="238137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940DD-1002-4DCB-86F6-EF1A93D4A1B9}">
      <dsp:nvSpPr>
        <dsp:cNvPr id="0" name=""/>
        <dsp:cNvSpPr/>
      </dsp:nvSpPr>
      <dsp:spPr>
        <a:xfrm>
          <a:off x="0" y="0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Executive and Admin Login</a:t>
          </a:r>
          <a:endParaRPr lang="en-US" sz="23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User Name is accepting Lower Boundary valu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assword field not displaying proper Error msg.</a:t>
          </a:r>
          <a:endParaRPr lang="en-US" sz="1800" kern="1200" dirty="0"/>
        </a:p>
      </dsp:txBody>
      <dsp:txXfrm>
        <a:off x="1346200" y="0"/>
        <a:ext cx="4749800" cy="1269999"/>
      </dsp:txXfrm>
    </dsp:sp>
    <dsp:sp modelId="{B9BEF37A-1894-4AF6-AC06-A1D5277040B1}">
      <dsp:nvSpPr>
        <dsp:cNvPr id="0" name=""/>
        <dsp:cNvSpPr/>
      </dsp:nvSpPr>
      <dsp:spPr>
        <a:xfrm>
          <a:off x="126999" y="126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F583B5-4536-4FC2-9EC1-A9D0C58195F0}">
      <dsp:nvSpPr>
        <dsp:cNvPr id="0" name=""/>
        <dsp:cNvSpPr/>
      </dsp:nvSpPr>
      <dsp:spPr>
        <a:xfrm>
          <a:off x="0" y="1396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Contact Us</a:t>
          </a:r>
          <a:endParaRPr lang="en-US" sz="23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Email Field is Accepting Invalid Email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Name field is accepting Lower Boundary value</a:t>
          </a:r>
          <a:endParaRPr lang="en-US" sz="1800" kern="1200" dirty="0"/>
        </a:p>
      </dsp:txBody>
      <dsp:txXfrm>
        <a:off x="1346200" y="1396999"/>
        <a:ext cx="4749800" cy="1269999"/>
      </dsp:txXfrm>
    </dsp:sp>
    <dsp:sp modelId="{E532505C-1CAB-4545-B3B3-15169A807866}">
      <dsp:nvSpPr>
        <dsp:cNvPr id="0" name=""/>
        <dsp:cNvSpPr/>
      </dsp:nvSpPr>
      <dsp:spPr>
        <a:xfrm>
          <a:off x="126999" y="1523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58855C-6AAD-43DF-AFF7-AB1B4A84D0FE}">
      <dsp:nvSpPr>
        <dsp:cNvPr id="0" name=""/>
        <dsp:cNvSpPr/>
      </dsp:nvSpPr>
      <dsp:spPr>
        <a:xfrm>
          <a:off x="0" y="2793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Book Flight</a:t>
          </a:r>
          <a:endParaRPr lang="en-US" sz="23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ate field should be in </a:t>
          </a:r>
          <a:r>
            <a:rPr lang="en-US" sz="1800" kern="1200" dirty="0" err="1" smtClean="0"/>
            <a:t>dd</a:t>
          </a:r>
          <a:r>
            <a:rPr lang="en-US" sz="1800" kern="1200" dirty="0" smtClean="0"/>
            <a:t>/mm/</a:t>
          </a:r>
          <a:r>
            <a:rPr lang="en-US" sz="1800" kern="1200" dirty="0" err="1" smtClean="0"/>
            <a:t>yyyy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ate field is accepting invalid Date</a:t>
          </a:r>
          <a:endParaRPr lang="en-US" sz="1800" kern="1200" dirty="0"/>
        </a:p>
      </dsp:txBody>
      <dsp:txXfrm>
        <a:off x="1346200" y="2793999"/>
        <a:ext cx="4749800" cy="1269999"/>
      </dsp:txXfrm>
    </dsp:sp>
    <dsp:sp modelId="{A85134AF-E2D7-4CEA-AC94-DD979FA46D48}">
      <dsp:nvSpPr>
        <dsp:cNvPr id="0" name=""/>
        <dsp:cNvSpPr/>
      </dsp:nvSpPr>
      <dsp:spPr>
        <a:xfrm>
          <a:off x="126999" y="2920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940DD-1002-4DCB-86F6-EF1A93D4A1B9}">
      <dsp:nvSpPr>
        <dsp:cNvPr id="0" name=""/>
        <dsp:cNvSpPr/>
      </dsp:nvSpPr>
      <dsp:spPr>
        <a:xfrm>
          <a:off x="0" y="0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light Between Page</a:t>
          </a:r>
          <a:endParaRPr lang="en-US" sz="22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Heading is inappropriate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Date field is accepting invalid date</a:t>
          </a:r>
          <a:endParaRPr lang="en-US" sz="1700" kern="1200" dirty="0"/>
        </a:p>
      </dsp:txBody>
      <dsp:txXfrm>
        <a:off x="1346200" y="0"/>
        <a:ext cx="4749800" cy="1269999"/>
      </dsp:txXfrm>
    </dsp:sp>
    <dsp:sp modelId="{B9BEF37A-1894-4AF6-AC06-A1D5277040B1}">
      <dsp:nvSpPr>
        <dsp:cNvPr id="0" name=""/>
        <dsp:cNvSpPr/>
      </dsp:nvSpPr>
      <dsp:spPr>
        <a:xfrm>
          <a:off x="126999" y="126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F583B5-4536-4FC2-9EC1-A9D0C58195F0}">
      <dsp:nvSpPr>
        <dsp:cNvPr id="0" name=""/>
        <dsp:cNvSpPr/>
      </dsp:nvSpPr>
      <dsp:spPr>
        <a:xfrm>
          <a:off x="0" y="1396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ly High Logo</a:t>
          </a:r>
          <a:endParaRPr lang="en-US" sz="22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The Fly High Logo is not displaying proper page.</a:t>
          </a:r>
          <a:endParaRPr lang="en-US" sz="1700" kern="1200" dirty="0"/>
        </a:p>
      </dsp:txBody>
      <dsp:txXfrm>
        <a:off x="1346200" y="1396999"/>
        <a:ext cx="4749800" cy="1269999"/>
      </dsp:txXfrm>
    </dsp:sp>
    <dsp:sp modelId="{E532505C-1CAB-4545-B3B3-15169A807866}">
      <dsp:nvSpPr>
        <dsp:cNvPr id="0" name=""/>
        <dsp:cNvSpPr/>
      </dsp:nvSpPr>
      <dsp:spPr>
        <a:xfrm>
          <a:off x="126999" y="1523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58855C-6AAD-43DF-AFF7-AB1B4A84D0FE}">
      <dsp:nvSpPr>
        <dsp:cNvPr id="0" name=""/>
        <dsp:cNvSpPr/>
      </dsp:nvSpPr>
      <dsp:spPr>
        <a:xfrm>
          <a:off x="0" y="2793999"/>
          <a:ext cx="6096000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ayment Page</a:t>
          </a:r>
          <a:endParaRPr lang="en-US" sz="22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On clicking make payment with valid credentials, no booking confirmed message displayed</a:t>
          </a:r>
          <a:endParaRPr lang="en-US" sz="1700" kern="1200" dirty="0"/>
        </a:p>
      </dsp:txBody>
      <dsp:txXfrm>
        <a:off x="1346200" y="2793999"/>
        <a:ext cx="4749800" cy="1269999"/>
      </dsp:txXfrm>
    </dsp:sp>
    <dsp:sp modelId="{A85134AF-E2D7-4CEA-AC94-DD979FA46D48}">
      <dsp:nvSpPr>
        <dsp:cNvPr id="0" name=""/>
        <dsp:cNvSpPr/>
      </dsp:nvSpPr>
      <dsp:spPr>
        <a:xfrm>
          <a:off x="126999" y="2920999"/>
          <a:ext cx="1219200" cy="1015999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2/25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67524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Testing Concepts for V&amp;V Automation Testing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Candara" pitchFamily="34" charset="0"/>
                <a:cs typeface="Arial" pitchFamily="34" charset="0"/>
              </a:rPr>
              <a:t>Page 0-</a:t>
            </a:r>
            <a:fld id="{BD9FB300-F9DC-4669-88F4-967ABA23CC04}" type="slidenum">
              <a:rPr lang="en-US" sz="1200" smtClean="0">
                <a:latin typeface="Candara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xmlns="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1060551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598254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41860546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182805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589640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792662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626438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D700D64-913D-4C90-AAE2-9D47DEA83510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05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0B93AD-6F24-47CB-B030-31AC844AF8F9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4968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246D8EC-62C4-4BA0-99CC-CD9113D4CDC2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4997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427E61D-9D32-465B-9976-46AE1130D0CD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3157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B639E03-E026-4EC4-BD91-61F6679F87BC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6211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550C818-65B5-41AA-A4D2-3D61830A98EA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4585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EA23B9-092E-491E-A6D7-CE7DF29A1CC3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323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DA76E6B-E3F4-474D-A0D9-B388510A8AA0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06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999C504-FA45-4278-A6DA-934F4572D97C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16123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D9F28C8-0552-4B4B-836E-2E7350AAF985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00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A21B53-B0DD-406F-A812-001769E56264}" type="datetime1">
              <a:rPr lang="en-US" smtClean="0"/>
              <a:pPr/>
              <a:t>2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02877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26, 2018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837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microsoft.com/office/2007/relationships/diagramDrawing" Target="../diagrams/drawing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microsoft.com/office/2007/relationships/diagramDrawing" Target="../diagrams/drawing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microsoft.com/office/2007/relationships/diagramDrawing" Target="../diagrams/drawing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microsoft.com/office/2007/relationships/diagramDrawing" Target="../diagrams/drawing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microsoft.com/office/2007/relationships/diagramDrawing" Target="../diagrams/drawing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://ndafile:8081/AirlineReservationSyste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-99392"/>
            <a:ext cx="9144000" cy="557150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472112"/>
            <a:ext cx="9144000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000768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571604" y="214290"/>
            <a:ext cx="7168996" cy="532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3200" b="1" dirty="0" smtClean="0">
                <a:latin typeface="Arial Black" pitchFamily="34" charset="0"/>
              </a:rPr>
              <a:t>MINI-PROJECT PRESENTATION ON </a:t>
            </a:r>
            <a:endParaRPr lang="en-US" sz="3200" b="1" dirty="0" smtClean="0">
              <a:latin typeface="Arial Black" pitchFamily="34" charset="0"/>
            </a:endParaRPr>
          </a:p>
          <a:p>
            <a:pPr algn="ctr" eaLnBrk="1" hangingPunct="1"/>
            <a:r>
              <a:rPr lang="en-US" sz="3200" b="1" dirty="0" smtClean="0">
                <a:latin typeface="Arial Black" pitchFamily="34" charset="0"/>
              </a:rPr>
              <a:t>AIRLINE RESERVATION </a:t>
            </a:r>
            <a:r>
              <a:rPr lang="en-US" sz="3200" b="1" dirty="0" smtClean="0">
                <a:latin typeface="Arial Black" pitchFamily="34" charset="0"/>
              </a:rPr>
              <a:t>SYSTEM</a:t>
            </a: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algn="ctr" eaLnBrk="1" hangingPunct="1"/>
            <a:endParaRPr lang="en-US" sz="2800" b="1" dirty="0" smtClean="0">
              <a:latin typeface="Arial Black" pitchFamily="34" charset="0"/>
            </a:endParaRPr>
          </a:p>
          <a:p>
            <a:pPr eaLnBrk="1" hangingPunct="1"/>
            <a:r>
              <a:rPr lang="en-US" sz="2400" b="1" dirty="0" smtClean="0">
                <a:latin typeface="Arial Black" pitchFamily="34" charset="0"/>
              </a:rPr>
              <a:t>BY</a:t>
            </a:r>
            <a:endParaRPr lang="en-US" sz="2400" b="1" dirty="0">
              <a:latin typeface="Arial Black" pitchFamily="34" charset="0"/>
            </a:endParaRPr>
          </a:p>
          <a:p>
            <a:pPr eaLnBrk="1" hangingPunct="1"/>
            <a:r>
              <a:rPr lang="en-US" sz="2400" b="1" dirty="0">
                <a:latin typeface="Arial Black" pitchFamily="34" charset="0"/>
              </a:rPr>
              <a:t>GROUP </a:t>
            </a:r>
            <a:r>
              <a:rPr lang="en-US" sz="2400" b="1" dirty="0" smtClean="0">
                <a:latin typeface="Arial Black" pitchFamily="34" charset="0"/>
              </a:rPr>
              <a:t>1			 Dated</a:t>
            </a:r>
            <a:r>
              <a:rPr lang="en-US" sz="2400" b="1" dirty="0">
                <a:latin typeface="Arial Black" pitchFamily="34" charset="0"/>
              </a:rPr>
              <a:t>: </a:t>
            </a:r>
            <a:r>
              <a:rPr lang="en-US" sz="2400" b="1" dirty="0" smtClean="0">
                <a:latin typeface="Arial Black" pitchFamily="34" charset="0"/>
              </a:rPr>
              <a:t>27/02/2018</a:t>
            </a:r>
            <a:endParaRPr lang="en-US" sz="2400" b="1" dirty="0">
              <a:latin typeface="Arial Black" pitchFamily="34" charset="0"/>
            </a:endParaRPr>
          </a:p>
          <a:p>
            <a:pPr eaLnBrk="1" hangingPunct="1"/>
            <a:r>
              <a:rPr lang="en-US" sz="2400" b="1" dirty="0" smtClean="0">
                <a:latin typeface="Arial Black" pitchFamily="34" charset="0"/>
              </a:rPr>
              <a:t>			</a:t>
            </a:r>
            <a:endParaRPr lang="en-US" sz="2400" b="1" dirty="0">
              <a:latin typeface="Arial Black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643702" y="6072206"/>
            <a:ext cx="212114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91880" y="6094259"/>
            <a:ext cx="28956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581150" cy="101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54564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 CASE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xmlns="" val="1184303199"/>
              </p:ext>
            </p:extLst>
          </p:nvPr>
        </p:nvGraphicFramePr>
        <p:xfrm>
          <a:off x="395536" y="1412776"/>
          <a:ext cx="736848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3154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REQUIREMENT ITEMIZATION</a:t>
            </a:r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quirement 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emization or RVFD is a technique to separate the requirements into different categorie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his </a:t>
            </a: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basically used to simplify the requirements and detect the undetected defects</a:t>
            </a:r>
            <a:r>
              <a:rPr lang="en-US" sz="24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categories of requirements are:</a:t>
            </a:r>
          </a:p>
          <a:p>
            <a:pPr marL="64008" indent="0">
              <a:buNone/>
            </a:pPr>
            <a:r>
              <a:rPr lang="en-US" sz="24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7426533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RVFD Cont..</a:t>
            </a:r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1579643709"/>
              </p:ext>
            </p:extLst>
          </p:nvPr>
        </p:nvGraphicFramePr>
        <p:xfrm>
          <a:off x="214282" y="1500174"/>
          <a:ext cx="8671262" cy="4071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249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RVF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1075278633"/>
              </p:ext>
            </p:extLst>
          </p:nvPr>
        </p:nvGraphicFramePr>
        <p:xfrm>
          <a:off x="142844" y="1500174"/>
          <a:ext cx="8781054" cy="4429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79979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351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1819"/>
            <a:ext cx="8229600" cy="537313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 CASE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417824023"/>
              </p:ext>
            </p:extLst>
          </p:nvPr>
        </p:nvGraphicFramePr>
        <p:xfrm>
          <a:off x="345894" y="1340768"/>
          <a:ext cx="8363272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8584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 REPORT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What is Defect 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</a:rPr>
              <a:t>Error or a bug, in the application which is created.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000" b="0" dirty="0">
                <a:solidFill>
                  <a:schemeClr val="tx1"/>
                </a:solidFill>
              </a:rPr>
              <a:t>F</a:t>
            </a:r>
            <a:r>
              <a:rPr lang="en-US" sz="2000" b="0" dirty="0" smtClean="0">
                <a:solidFill>
                  <a:schemeClr val="tx1"/>
                </a:solidFill>
              </a:rPr>
              <a:t>laws in the software are called defects</a:t>
            </a:r>
          </a:p>
          <a:p>
            <a:pPr marL="0" indent="0">
              <a:buNone/>
            </a:pPr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0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1"/>
                </a:solidFill>
              </a:rPr>
              <a:t>What is Defect Report ?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000" b="0" dirty="0" smtClean="0">
                <a:solidFill>
                  <a:schemeClr val="tx1"/>
                </a:solidFill>
              </a:rPr>
              <a:t>The </a:t>
            </a:r>
            <a:r>
              <a:rPr lang="en-US" sz="2000" b="0" dirty="0">
                <a:solidFill>
                  <a:schemeClr val="tx1"/>
                </a:solidFill>
              </a:rPr>
              <a:t>report written for logging </a:t>
            </a:r>
            <a:r>
              <a:rPr lang="en-US" sz="2000" b="0" dirty="0" smtClean="0">
                <a:solidFill>
                  <a:schemeClr val="tx1"/>
                </a:solidFill>
              </a:rPr>
              <a:t>these defects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75477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96019" y="2197159"/>
            <a:ext cx="702171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D 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ect description 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ct version 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e raised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orted b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tus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xed b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e closed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verity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iority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IN" sz="2400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00034" y="-285776"/>
            <a:ext cx="7783717" cy="1283732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 REPORT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96774" y="914400"/>
            <a:ext cx="7783717" cy="1283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ponents of a defect report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27019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xmlns="" val="2550219200"/>
              </p:ext>
            </p:extLst>
          </p:nvPr>
        </p:nvGraphicFramePr>
        <p:xfrm>
          <a:off x="1000100" y="1357298"/>
          <a:ext cx="7358114" cy="46434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2502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xmlns="" val="3635595955"/>
              </p:ext>
            </p:extLst>
          </p:nvPr>
        </p:nvGraphicFramePr>
        <p:xfrm>
          <a:off x="1000100" y="1285860"/>
          <a:ext cx="7143800" cy="478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3479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357290" y="1142984"/>
            <a:ext cx="6643734" cy="47548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0488" tIns="44450" rIns="90488" bIns="44450">
            <a:normAutofit/>
          </a:bodyPr>
          <a:lstStyle/>
          <a:p>
            <a:pPr eaLnBrk="0" hangingPunct="0">
              <a:lnSpc>
                <a:spcPct val="80000"/>
              </a:lnSpc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AM MEMBER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1645897"/>
            <a:ext cx="6296239" cy="34163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endParaRPr lang="en-IN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urv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rawal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Team Lead)</a:t>
            </a:r>
            <a:endParaRPr lang="en-IN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bhijit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anda</a:t>
            </a:r>
            <a:endParaRPr lang="en-IN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kshmi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havani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IN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jal </a:t>
            </a:r>
            <a:r>
              <a:rPr lang="en-IN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jethia</a:t>
            </a:r>
            <a:endParaRPr lang="en-IN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barasi</a:t>
            </a:r>
            <a:endPara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kur Kumar Gupta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auddin Abbas</a:t>
            </a:r>
          </a:p>
          <a:p>
            <a:pPr marL="342900" indent="-342900">
              <a:buClr>
                <a:schemeClr val="accent5"/>
              </a:buCl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hanalakshmi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214414" y="1142984"/>
            <a:ext cx="6929486" cy="47548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/>
          <a:stretch>
            <a:fillRect/>
          </a:stretch>
        </p:blipFill>
        <p:spPr>
          <a:xfrm>
            <a:off x="1142976" y="1142984"/>
            <a:ext cx="6858048" cy="47548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FECTS FOUND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1285852" y="1142984"/>
            <a:ext cx="7000924" cy="47548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045129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TEST SUMMAR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>
              <a:buNone/>
            </a:pPr>
            <a:r>
              <a:rPr lang="en-US" sz="2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We </a:t>
            </a:r>
            <a:r>
              <a:rPr lang="en-US" sz="2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ave tested the </a:t>
            </a:r>
            <a:r>
              <a:rPr lang="en-US" sz="2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unctionalities;-</a:t>
            </a:r>
          </a:p>
          <a:p>
            <a:pPr marL="0" lvl="0" indent="0">
              <a:spcBef>
                <a:spcPts val="0"/>
              </a:spcBef>
              <a:buClrTx/>
              <a:buNone/>
            </a:pPr>
            <a:endParaRPr lang="en-US" sz="2400" kern="0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</a:t>
            </a:r>
            <a:endParaRPr lang="en-US" sz="2400" kern="0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  <a:endParaRPr lang="en-US" sz="2000" b="1" kern="0" dirty="0" smtClean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gin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w Flights Acc. To Period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w Flights Acc. To Place</a:t>
            </a:r>
          </a:p>
          <a:p>
            <a:pPr marL="0" lvl="0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w Flights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ok Flights</a:t>
            </a:r>
          </a:p>
          <a:p>
            <a:pPr marL="400050" lvl="2" indent="0">
              <a:lnSpc>
                <a:spcPct val="150000"/>
              </a:lnSpc>
              <a:spcBef>
                <a:spcPts val="0"/>
              </a:spcBef>
              <a:buClr>
                <a:srgbClr val="00B0F0"/>
              </a:buClr>
              <a:buFont typeface="Wingdings" pitchFamily="2" charset="2"/>
              <a:buChar char="Ø"/>
            </a:pPr>
            <a:r>
              <a:rPr lang="en-US" sz="2000" b="1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act</a:t>
            </a:r>
            <a:endParaRPr lang="en-US" sz="2000" b="1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5782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TEST SUMMARY Cont..</a:t>
            </a:r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graphicFrame>
        <p:nvGraphicFramePr>
          <p:cNvPr id="5" name="Diagram 4"/>
          <p:cNvGraphicFramePr/>
          <p:nvPr/>
        </p:nvGraphicFramePr>
        <p:xfrm>
          <a:off x="1071538" y="1357298"/>
          <a:ext cx="6929486" cy="4357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METRICS CALCULATION</a:t>
            </a:r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Effectiveness</a:t>
            </a:r>
            <a:r>
              <a:rPr lang="en-US" sz="2400" dirty="0" smtClean="0">
                <a:solidFill>
                  <a:schemeClr val="tx1"/>
                </a:solidFill>
                <a:latin typeface="Century Schoolbook" pitchFamily="18" charset="0"/>
              </a:rPr>
              <a:t> :  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137160" indent="0">
              <a:buNone/>
            </a:pPr>
            <a:endParaRPr lang="en-US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480060">
              <a:buFont typeface="Wingdings" pitchFamily="2" charset="2"/>
              <a:buChar char="q"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</a:t>
            </a: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se 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ffectiveness = No of defects detected using test cases*100/total no of test 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ses</a:t>
            </a:r>
          </a:p>
          <a:p>
            <a:pPr marL="480060">
              <a:buNone/>
            </a:pPr>
            <a:endParaRPr lang="en-US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37260" lvl="2" indent="0">
              <a:buNone/>
            </a:pP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=(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*100)/77</a:t>
            </a:r>
            <a:endParaRPr lang="en-US" sz="2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937260" lvl="2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	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=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5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4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sz="2400" b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9000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57158" y="1428736"/>
            <a:ext cx="7924800" cy="4535909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</a:t>
            </a:r>
            <a:r>
              <a:rPr lang="en-US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dequacy :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Font typeface="Wingdings" pitchFamily="2" charset="2"/>
              <a:buChar char="q"/>
            </a:pP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</a:t>
            </a: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se 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dequacy = No. of actual Test cases*100/No of test cases estimated</a:t>
            </a:r>
          </a:p>
          <a:p>
            <a:pPr marL="137160" indent="0">
              <a:buNone/>
            </a:pPr>
            <a:r>
              <a:rPr lang="en-US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	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=(77*100)/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85</a:t>
            </a:r>
            <a:endParaRPr lang="en-US" sz="2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		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=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90.58</a:t>
            </a: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sz="2400" b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endParaRPr lang="en-US" sz="2400" b="0" dirty="0">
              <a:latin typeface="Monotype Corsiva" pitchFamily="66" charset="0"/>
            </a:endParaRPr>
          </a:p>
          <a:p>
            <a:pPr marL="137160" indent="0">
              <a:buNone/>
            </a:pPr>
            <a:endParaRPr lang="en-US" sz="2400" b="0" dirty="0">
              <a:latin typeface="Monotype Corsiva" pitchFamily="66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0034" y="214290"/>
            <a:ext cx="574471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latin typeface="Arial" pitchFamily="34" charset="0"/>
                <a:cs typeface="Arial" pitchFamily="34" charset="0"/>
              </a:rPr>
              <a:t>METRICS CALCULATION CONT..</a:t>
            </a:r>
            <a:endParaRPr lang="en-IN" sz="28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132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44" y="3000372"/>
            <a:ext cx="8229600" cy="792162"/>
          </a:xfrm>
        </p:spPr>
        <p:txBody>
          <a:bodyPr>
            <a:noAutofit/>
          </a:bodyPr>
          <a:lstStyle/>
          <a:p>
            <a:pPr algn="ctr"/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!</a:t>
            </a:r>
            <a:b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8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 &amp; A</a:t>
            </a:r>
            <a:endParaRPr lang="en-US" sz="8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pic>
        <p:nvPicPr>
          <p:cNvPr id="10" name="Picture 9" descr="quiz-generic-300x284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1802" y="2357430"/>
            <a:ext cx="2258839" cy="213836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150110912"/>
      </p:ext>
    </p:extLst>
  </p:cSld>
  <p:clrMapOvr>
    <a:masterClrMapping/>
  </p:clrMapOvr>
  <p:transition>
    <p:checker dir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6725" y="1339009"/>
            <a:ext cx="8229600" cy="4525963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view of </a:t>
            </a: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jec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mi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ecutiv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Cas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VF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 Cas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fect Report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t Summary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rics Calculation</a:t>
            </a:r>
            <a:endParaRPr lang="en-US" sz="2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 &amp; A</a:t>
            </a:r>
            <a:endParaRPr lang="en-US" sz="2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2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2200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sz="22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0" hangingPunct="0">
              <a:lnSpc>
                <a:spcPct val="80000"/>
              </a:lnSpc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29890" y="1507231"/>
            <a:ext cx="7848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en-US" u="sng" dirty="0" smtClean="0">
                <a:hlinkClick r:id="rId2"/>
              </a:rPr>
              <a:t>http</a:t>
            </a:r>
            <a:r>
              <a:rPr lang="en-US" u="sng" dirty="0">
                <a:hlinkClick r:id="rId2"/>
              </a:rPr>
              <a:t>://ndafile:8081/AirlineReservationSystem</a:t>
            </a:r>
            <a:r>
              <a:rPr lang="en-US" u="sng" dirty="0" smtClean="0">
                <a:hlinkClick r:id="rId2"/>
              </a:rPr>
              <a:t>/</a:t>
            </a:r>
            <a:endParaRPr lang="en-US" u="sng" dirty="0" smtClean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q"/>
            </a:pPr>
            <a:endParaRPr lang="en-US" u="sng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909" y="2132856"/>
            <a:ext cx="8298723" cy="410445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51970" y="1011476"/>
            <a:ext cx="7848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EBSITE LINK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7042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conveyor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 Cont.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arious function available on the website:-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thority Logi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ew Flight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ok Flight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act Us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0356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28596" y="1571612"/>
            <a:ext cx="8229600" cy="4525963"/>
          </a:xfrm>
        </p:spPr>
        <p:txBody>
          <a:bodyPr lIns="90488" tIns="44450" rIns="90488" bIns="44450">
            <a:normAutofit/>
          </a:bodyPr>
          <a:lstStyle/>
          <a:p>
            <a:pPr>
              <a:buNone/>
            </a:pPr>
            <a:r>
              <a:rPr lang="en-US" sz="2400" dirty="0" smtClean="0">
                <a:solidFill>
                  <a:schemeClr val="tx1"/>
                </a:solidFill>
              </a:rPr>
              <a:t>From the Requirement Sheet and Website given:-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Test Cases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RVFD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Defect Report</a:t>
            </a:r>
          </a:p>
          <a:p>
            <a:pPr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</a:rPr>
              <a:t>Use Cases</a:t>
            </a: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7171" name="Title 1"/>
          <p:cNvSpPr>
            <a:spLocks/>
          </p:cNvSpPr>
          <p:nvPr/>
        </p:nvSpPr>
        <p:spPr bwMode="auto">
          <a:xfrm>
            <a:off x="390525" y="0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VERVIEW OF THE PROJECT CONT..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MIN</a:t>
            </a:r>
            <a:endParaRPr lang="en-US" sz="28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9" name="Subtitle 4"/>
          <p:cNvSpPr>
            <a:spLocks noGrp="1"/>
          </p:cNvSpPr>
          <p:nvPr>
            <p:ph type="ctrTitle"/>
          </p:nvPr>
        </p:nvSpPr>
        <p:spPr>
          <a:xfrm>
            <a:off x="571472" y="1214422"/>
            <a:ext cx="7772400" cy="1410734"/>
          </a:xfrm>
        </p:spPr>
        <p:txBody>
          <a:bodyPr>
            <a:normAutofit/>
          </a:bodyPr>
          <a:lstStyle/>
          <a:p>
            <a:pPr marL="457200" indent="-457200">
              <a:buClr>
                <a:srgbClr val="00B0F0"/>
              </a:buClr>
            </a:pP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ministrator has the right to keep track of the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ight</a:t>
            </a:r>
            <a:b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tails: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306"/>
            <a:ext cx="2136211" cy="43516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73" r="10631" b="32765"/>
          <a:stretch/>
        </p:blipFill>
        <p:spPr>
          <a:xfrm>
            <a:off x="2571736" y="2000240"/>
            <a:ext cx="5948691" cy="407196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Subtitle 4"/>
          <p:cNvSpPr txBox="1">
            <a:spLocks/>
          </p:cNvSpPr>
          <p:nvPr/>
        </p:nvSpPr>
        <p:spPr>
          <a:xfrm>
            <a:off x="642910" y="2928934"/>
            <a:ext cx="7772400" cy="14107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70000"/>
              </a:lnSpc>
              <a:spcBef>
                <a:spcPct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Login</a:t>
            </a:r>
            <a:endParaRPr lang="en-US" sz="200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70000"/>
              </a:lnSpc>
              <a:spcBef>
                <a:spcPct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Update</a:t>
            </a:r>
            <a:endParaRPr lang="en-US" sz="200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70000"/>
              </a:lnSpc>
              <a:spcBef>
                <a:spcPct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anage</a:t>
            </a:r>
            <a:endParaRPr lang="en-US" sz="200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70000"/>
              </a:lnSpc>
              <a:spcBef>
                <a:spcPct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Report </a:t>
            </a:r>
            <a:b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itle 1"/>
          <p:cNvSpPr>
            <a:spLocks/>
          </p:cNvSpPr>
          <p:nvPr/>
        </p:nvSpPr>
        <p:spPr bwMode="auto">
          <a:xfrm>
            <a:off x="495300" y="38384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endParaRPr lang="en-US" sz="2800" dirty="0">
              <a:latin typeface="Candara" panose="020E0502030303020204" pitchFamily="34" charset="0"/>
              <a:ea typeface="+mj-ea"/>
              <a:cs typeface="+mj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2490" y="1484784"/>
            <a:ext cx="8229600" cy="792162"/>
          </a:xfrm>
        </p:spPr>
        <p:txBody>
          <a:bodyPr>
            <a:normAutofit fontScale="90000"/>
          </a:bodyPr>
          <a:lstStyle/>
          <a:p>
            <a:pPr marL="342900" indent="-342900"/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irline-executive alone will be able to view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light-occupancy</a:t>
            </a:r>
            <a:b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02490" y="218609"/>
            <a:ext cx="22172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XECUTIV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15082"/>
            <a:ext cx="2136211" cy="50004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6" t="9849" r="28036" b="22441"/>
          <a:stretch/>
        </p:blipFill>
        <p:spPr>
          <a:xfrm>
            <a:off x="3000364" y="2000240"/>
            <a:ext cx="5530319" cy="396044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Subtitle 4"/>
          <p:cNvSpPr txBox="1">
            <a:spLocks/>
          </p:cNvSpPr>
          <p:nvPr/>
        </p:nvSpPr>
        <p:spPr>
          <a:xfrm>
            <a:off x="642910" y="2000240"/>
            <a:ext cx="7772400" cy="14107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70000"/>
              </a:lnSpc>
              <a:spcBef>
                <a:spcPct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Login</a:t>
            </a:r>
            <a:endParaRPr lang="en-US" sz="200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70000"/>
              </a:lnSpc>
              <a:spcBef>
                <a:spcPct val="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itchFamily="2" charset="2"/>
              <a:buChar char="q"/>
              <a:tabLst/>
              <a:defRPr/>
            </a:pPr>
            <a:r>
              <a:rPr lang="en-US" sz="200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View Details</a:t>
            </a:r>
            <a:endParaRPr lang="en-US" sz="200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99488" y="1300219"/>
            <a:ext cx="8229600" cy="1342964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er can reserve a flight ticket and also update or cancel his 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ervation</a:t>
            </a:r>
          </a:p>
          <a:p>
            <a:pPr marL="0" indent="0">
              <a:buNone/>
            </a:pPr>
            <a:r>
              <a:rPr lang="en-US" sz="22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en-US" sz="24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06" t="13078" r="22449" b="19230"/>
          <a:stretch/>
        </p:blipFill>
        <p:spPr>
          <a:xfrm>
            <a:off x="3357554" y="2071678"/>
            <a:ext cx="5184576" cy="396044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7789" y="6286520"/>
            <a:ext cx="2136211" cy="435169"/>
          </a:xfrm>
          <a:prstGeom prst="rect">
            <a:avLst/>
          </a:prstGeom>
        </p:spPr>
      </p:pic>
      <p:sp>
        <p:nvSpPr>
          <p:cNvPr id="9" name="Subtitle 4"/>
          <p:cNvSpPr txBox="1">
            <a:spLocks/>
          </p:cNvSpPr>
          <p:nvPr/>
        </p:nvSpPr>
        <p:spPr>
          <a:xfrm>
            <a:off x="428596" y="2500306"/>
            <a:ext cx="7772400" cy="14107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457200" indent="-4572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serve or Book</a:t>
            </a:r>
          </a:p>
          <a:p>
            <a:pPr marL="457200" indent="-4572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pdate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ncel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50000"/>
              </a:lnSpc>
              <a:buClr>
                <a:srgbClr val="00B0F0"/>
              </a:buClr>
              <a:buFont typeface="Wingdings" pitchFamily="2" charset="2"/>
              <a:buChar char="q"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act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</a:t>
            </a: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 xsi:nil="true"/>
    <Category xmlns="8c1e5db8-6ee0-40ad-b825-125fd87f72f8">Module Artifact</Category>
    <Material_x0020_Type xmlns="8c1e5db8-6ee0-40ad-b825-125fd87f72f8">Class book</Material_x0020_Type>
    <Level xmlns="8c1e5db8-6ee0-40ad-b825-125fd87f72f8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C5F8948189DB4491339C53D62C7AAD" ma:contentTypeVersion="3" ma:contentTypeDescription="Create a new document." ma:contentTypeScope="" ma:versionID="9e84191e124978d8f4352ec5bc9b8dba">
  <xsd:schema xmlns:xsd="http://www.w3.org/2001/XMLSchema" xmlns:xs="http://www.w3.org/2001/XMLSchema" xmlns:p="http://schemas.microsoft.com/office/2006/metadata/properties" xmlns:ns2="952a6df7-b138-4f89-9bc4-e7a874ea3254" xmlns:ns3="8c1e5db8-6ee0-40ad-b825-125fd87f72f8" targetNamespace="http://schemas.microsoft.com/office/2006/metadata/properties" ma:root="true" ma:fieldsID="de95c2eb70fa456a1e8632ad6bd3c73a" ns2:_="" ns3:_="">
    <xsd:import namespace="952a6df7-b138-4f89-9bc4-e7a874ea3254"/>
    <xsd:import namespace="8c1e5db8-6ee0-40ad-b825-125fd87f72f8"/>
    <xsd:element name="properties">
      <xsd:complexType>
        <xsd:sequence>
          <xsd:element name="documentManagement">
            <xsd:complexType>
              <xsd:all>
                <xsd:element ref="ns2:FolderName" minOccurs="0"/>
                <xsd:element ref="ns3:Level"/>
                <xsd:element ref="ns3:Category"/>
                <xsd:element ref="ns3: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8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e5db8-6ee0-40ad-b825-125fd87f72f8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default="L1" ma:format="Dropdown" ma:internalName="Level">
      <xsd:simpleType>
        <xsd:restriction base="dms:Choice">
          <xsd:enumeration value="L1"/>
          <xsd:enumeration value="L2"/>
          <xsd:enumeration value="L3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1" nillable="true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3433B7-998A-4D4C-91CD-BC966B06FCAD}">
  <ds:schemaRefs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8c1e5db8-6ee0-40ad-b825-125fd87f72f8"/>
    <ds:schemaRef ds:uri="http://schemas.microsoft.com/office/infopath/2007/PartnerControls"/>
    <ds:schemaRef ds:uri="952a6df7-b138-4f89-9bc4-e7a874ea3254"/>
  </ds:schemaRefs>
</ds:datastoreItem>
</file>

<file path=customXml/itemProps2.xml><?xml version="1.0" encoding="utf-8"?>
<ds:datastoreItem xmlns:ds="http://schemas.openxmlformats.org/officeDocument/2006/customXml" ds:itemID="{05F3ED00-A83F-406F-BE54-7650EA297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2a6df7-b138-4f89-9bc4-e7a874ea3254"/>
    <ds:schemaRef ds:uri="8c1e5db8-6ee0-40ad-b825-125fd87f7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9953</TotalTime>
  <Words>706</Words>
  <Application>Microsoft Office PowerPoint</Application>
  <PresentationFormat>On-screen Show (4:3)</PresentationFormat>
  <Paragraphs>221</Paragraphs>
  <Slides>27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Arial</vt:lpstr>
      <vt:lpstr>Calibri</vt:lpstr>
      <vt:lpstr>Arial Black</vt:lpstr>
      <vt:lpstr>Candara</vt:lpstr>
      <vt:lpstr>Times New Roman</vt:lpstr>
      <vt:lpstr>Wingdings</vt:lpstr>
      <vt:lpstr>Century Schoolbook</vt:lpstr>
      <vt:lpstr>Monotype Corsiva</vt:lpstr>
      <vt:lpstr>ＭＳ Ｐゴシック</vt:lpstr>
      <vt:lpstr>Office Theme</vt:lpstr>
      <vt:lpstr>Slide 1</vt:lpstr>
      <vt:lpstr>TEAM MEMBERS</vt:lpstr>
      <vt:lpstr>Slide 3</vt:lpstr>
      <vt:lpstr>INTRODUCTION</vt:lpstr>
      <vt:lpstr>INTRODUCTION Cont..</vt:lpstr>
      <vt:lpstr>Slide 6</vt:lpstr>
      <vt:lpstr>The administrator has the right to keep track of the flight details:  </vt:lpstr>
      <vt:lpstr>Airline-executive alone will be able to view flight-occupancy  </vt:lpstr>
      <vt:lpstr>Slide 9</vt:lpstr>
      <vt:lpstr>TEST CASES</vt:lpstr>
      <vt:lpstr>REQUIREMENT ITEMIZATION</vt:lpstr>
      <vt:lpstr>RVFD Cont..</vt:lpstr>
      <vt:lpstr>RVFD Cont..</vt:lpstr>
      <vt:lpstr>USE CASE</vt:lpstr>
      <vt:lpstr>DEFECT REPORT</vt:lpstr>
      <vt:lpstr>DEFECT REPORT Cont..</vt:lpstr>
      <vt:lpstr>DEFECTS FOUND Cont..</vt:lpstr>
      <vt:lpstr>DEFECTS FOUND Cont..</vt:lpstr>
      <vt:lpstr>DEFECTS FOUND Cont..</vt:lpstr>
      <vt:lpstr>DEFECTS FOUND Cont..</vt:lpstr>
      <vt:lpstr>DEFECTS FOUND Cont..</vt:lpstr>
      <vt:lpstr>DEFECTS FOUND Cont..</vt:lpstr>
      <vt:lpstr>TEST SUMMARY</vt:lpstr>
      <vt:lpstr>TEST SUMMARY Cont..</vt:lpstr>
      <vt:lpstr>METRICS CALCULATION</vt:lpstr>
      <vt:lpstr>Slide 26</vt:lpstr>
      <vt:lpstr>Thank You !   Q &amp; 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APURV</cp:lastModifiedBy>
  <cp:revision>288</cp:revision>
  <dcterms:created xsi:type="dcterms:W3CDTF">2014-04-28T11:21:39Z</dcterms:created>
  <dcterms:modified xsi:type="dcterms:W3CDTF">2018-02-25T18:5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C5F8948189DB4491339C53D62C7AAD</vt:lpwstr>
  </property>
</Properties>
</file>